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Override1.xml" ContentType="application/vnd.openxmlformats-officedocument.themeOverride+xml"/>
  <Override PartName="/ppt/tags/tag125.xml" ContentType="application/vnd.openxmlformats-officedocument.presentationml.tags+xml"/>
  <Override PartName="/ppt/theme/themeOverride2.xml" ContentType="application/vnd.openxmlformats-officedocument.themeOverride+xml"/>
  <Override PartName="/ppt/tags/tag126.xml" ContentType="application/vnd.openxmlformats-officedocument.presentationml.tags+xml"/>
  <Override PartName="/ppt/theme/themeOverride3.xml" ContentType="application/vnd.openxmlformats-officedocument.themeOverride+xml"/>
  <Override PartName="/ppt/tags/tag127.xml" ContentType="application/vnd.openxmlformats-officedocument.presentationml.tags+xml"/>
  <Override PartName="/ppt/theme/themeOverride4.xml" ContentType="application/vnd.openxmlformats-officedocument.themeOverride+xml"/>
  <Override PartName="/ppt/tags/tag128.xml" ContentType="application/vnd.openxmlformats-officedocument.presentationml.tags+xml"/>
  <Override PartName="/ppt/theme/themeOverride5.xml" ContentType="application/vnd.openxmlformats-officedocument.themeOverride+xml"/>
  <Override PartName="/ppt/tags/tag129.xml" ContentType="application/vnd.openxmlformats-officedocument.presentationml.tags+xml"/>
  <Override PartName="/ppt/theme/themeOverride6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6"/>
  </p:notesMasterIdLst>
  <p:sldIdLst>
    <p:sldId id="2147479958" r:id="rId2"/>
    <p:sldId id="274" r:id="rId3"/>
    <p:sldId id="2147479957" r:id="rId4"/>
    <p:sldId id="2147479959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D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7"/>
    <p:restoredTop sz="94635"/>
  </p:normalViewPr>
  <p:slideViewPr>
    <p:cSldViewPr snapToGrid="0">
      <p:cViewPr>
        <p:scale>
          <a:sx n="40" d="100"/>
          <a:sy n="40" d="100"/>
        </p:scale>
        <p:origin x="3376" y="15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5F65D6-C49B-554A-8FDC-E4CF204683D5}" type="datetimeFigureOut">
              <a:rPr lang="en-US" smtClean="0"/>
              <a:t>9/2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B73D5A-9DE2-9341-AA57-B141E569EF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851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5357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05F621-2D52-19A4-0CF4-DE3DA08E51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9A421A-9E61-2F11-CE40-B5F16BD87C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1492EC-2E37-045C-F93E-42ED2AA823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Tx/>
              <a:buChar char="-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7123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55FC45-7586-B0D7-9A93-C83A0A3AB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0DCDCB9-1343-8D0A-5B89-CC95A33D07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84A62F-7EA8-D62D-766D-9CDD37E5C9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Tx/>
              <a:buChar char="-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09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microsoft.com/office/2007/relationships/hdphoto" Target="../media/hdphoto2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6" Type="http://schemas.openxmlformats.org/officeDocument/2006/relationships/image" Target="../media/image1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12" Type="http://schemas.openxmlformats.org/officeDocument/2006/relationships/image" Target="../media/image4.emf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2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image" Target="../media/image23.jpeg"/><Relationship Id="rId9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12" Type="http://schemas.openxmlformats.org/officeDocument/2006/relationships/image" Target="../media/image4.emf"/><Relationship Id="rId2" Type="http://schemas.openxmlformats.org/officeDocument/2006/relationships/tags" Target="../tags/tag127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2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image" Target="../media/image24.jpeg"/><Relationship Id="rId9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12" Type="http://schemas.openxmlformats.org/officeDocument/2006/relationships/image" Target="../media/image4.emf"/><Relationship Id="rId2" Type="http://schemas.openxmlformats.org/officeDocument/2006/relationships/tags" Target="../tags/tag128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25.emf"/><Relationship Id="rId11" Type="http://schemas.openxmlformats.org/officeDocument/2006/relationships/image" Target="../media/image3.png"/><Relationship Id="rId5" Type="http://schemas.openxmlformats.org/officeDocument/2006/relationships/image" Target="../media/image22.emf"/><Relationship Id="rId10" Type="http://schemas.microsoft.com/office/2007/relationships/hdphoto" Target="../media/hdphoto1.wdp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12" Type="http://schemas.openxmlformats.org/officeDocument/2006/relationships/image" Target="../media/image4.emf"/><Relationship Id="rId2" Type="http://schemas.openxmlformats.org/officeDocument/2006/relationships/tags" Target="../tags/tag129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5.emf"/><Relationship Id="rId11" Type="http://schemas.openxmlformats.org/officeDocument/2006/relationships/image" Target="../media/image3.png"/><Relationship Id="rId5" Type="http://schemas.openxmlformats.org/officeDocument/2006/relationships/image" Target="../media/image22.emf"/><Relationship Id="rId10" Type="http://schemas.microsoft.com/office/2007/relationships/hdphoto" Target="../media/hdphoto1.wdp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12" Type="http://schemas.openxmlformats.org/officeDocument/2006/relationships/image" Target="../media/image4.emf"/><Relationship Id="rId2" Type="http://schemas.openxmlformats.org/officeDocument/2006/relationships/tags" Target="../tags/tag130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25.emf"/><Relationship Id="rId11" Type="http://schemas.openxmlformats.org/officeDocument/2006/relationships/image" Target="../media/image3.png"/><Relationship Id="rId5" Type="http://schemas.openxmlformats.org/officeDocument/2006/relationships/image" Target="../media/image22.emf"/><Relationship Id="rId10" Type="http://schemas.microsoft.com/office/2007/relationships/hdphoto" Target="../media/hdphoto1.wdp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jpeg"/><Relationship Id="rId7" Type="http://schemas.microsoft.com/office/2007/relationships/hdphoto" Target="../media/hdphoto2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6" Type="http://schemas.openxmlformats.org/officeDocument/2006/relationships/image" Target="../media/image14.png"/><Relationship Id="rId11" Type="http://schemas.openxmlformats.org/officeDocument/2006/relationships/image" Target="../media/image4.emf"/><Relationship Id="rId5" Type="http://schemas.openxmlformats.org/officeDocument/2006/relationships/image" Target="../media/image22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2.bin"/><Relationship Id="rId9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14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.png"/><Relationship Id="rId7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9.jpg"/><Relationship Id="rId4" Type="http://schemas.openxmlformats.org/officeDocument/2006/relationships/image" Target="../media/image8.jpg"/><Relationship Id="rId9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5.emf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14.png"/><Relationship Id="rId9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.png"/><Relationship Id="rId3" Type="http://schemas.openxmlformats.org/officeDocument/2006/relationships/image" Target="../media/image26.png"/><Relationship Id="rId7" Type="http://schemas.microsoft.com/office/2007/relationships/hdphoto" Target="../media/hdphoto4.wdp"/><Relationship Id="rId12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28.png"/><Relationship Id="rId11" Type="http://schemas.openxmlformats.org/officeDocument/2006/relationships/image" Target="../media/image2.png"/><Relationship Id="rId5" Type="http://schemas.microsoft.com/office/2007/relationships/hdphoto" Target="../media/hdphoto3.wdp"/><Relationship Id="rId10" Type="http://schemas.microsoft.com/office/2007/relationships/hdphoto" Target="../media/hdphoto2.wdp"/><Relationship Id="rId4" Type="http://schemas.openxmlformats.org/officeDocument/2006/relationships/image" Target="../media/image27.png"/><Relationship Id="rId9" Type="http://schemas.openxmlformats.org/officeDocument/2006/relationships/image" Target="../media/image14.png"/><Relationship Id="rId1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Relationship Id="rId5" Type="http://schemas.microsoft.com/office/2007/relationships/hdphoto" Target="../media/hdphoto2.wdp"/><Relationship Id="rId4" Type="http://schemas.openxmlformats.org/officeDocument/2006/relationships/image" Target="../media/image14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5.emf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14.png"/><Relationship Id="rId9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14.png"/><Relationship Id="rId7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10.jpe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with curly hair and blue shirt&#10;&#10;Description automatically generated">
            <a:extLst>
              <a:ext uri="{FF2B5EF4-FFF2-40B4-BE49-F238E27FC236}">
                <a16:creationId xmlns:a16="http://schemas.microsoft.com/office/drawing/2014/main" id="{E0F0FE3D-B3D3-A53A-2C3E-31BDF06B59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9623" y="-3289"/>
            <a:ext cx="12201623" cy="6865201"/>
          </a:xfrm>
          <a:prstGeom prst="rect">
            <a:avLst/>
          </a:prstGeom>
        </p:spPr>
      </p:pic>
      <p:pic>
        <p:nvPicPr>
          <p:cNvPr id="1106340232" name="LogoBlue-Dynamic" descr="{&quot;templafy&quot;:{&quot;id&quot;:&quot;55793fa0-167a-441b-91c9-fad96368d326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2647C2DE-A8A3-90D5-C5EA-D5F521E9C1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46" y="2053480"/>
            <a:ext cx="4177716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10AFD05-8F57-A63D-16C3-943339FA54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946" y="4824476"/>
            <a:ext cx="2366999" cy="252000"/>
          </a:xfrm>
        </p:spPr>
        <p:txBody>
          <a:bodyPr>
            <a:normAutofit/>
          </a:bodyPr>
          <a:lstStyle>
            <a:lvl1pPr>
              <a:defRPr sz="900">
                <a:ln>
                  <a:noFill/>
                </a:ln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INTERNAL – SAP and Partners Only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111DE14-7DB6-82B2-93D9-54AEDDC13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Month 00, 2023</a:t>
            </a:r>
            <a:endParaRPr lang="en-SG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09F4329-6FB4-81F8-EA2D-C9B209F6AA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946" y="394063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Name, SAP</a:t>
            </a:r>
            <a:endParaRPr lang="en-SG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6A473B-DFF9-8FC7-9438-56A9A7916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6072552"/>
            <a:ext cx="551296" cy="58904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199B2CB-0A7E-E262-5838-2BA1512D8328}"/>
              </a:ext>
            </a:extLst>
          </p:cNvPr>
          <p:cNvSpPr txBox="1"/>
          <p:nvPr userDrawn="1"/>
        </p:nvSpPr>
        <p:spPr>
          <a:xfrm>
            <a:off x="875157" y="6414542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D7B9F8-3D60-D42C-05C9-5AB3CB78735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1136" y="6099979"/>
            <a:ext cx="778277" cy="3083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70979CA-6660-C324-CACB-C321898D79D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79" y="6093448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787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95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20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3AC9102B-CEF5-104E-5EA0-FA67DCA1D9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E5543C2B-1C74-692A-2EC6-BB535596DDF0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AAB7CD27-FAB7-46E2-A8C8-D049B8F2BA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298" y="2762756"/>
            <a:ext cx="3851705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05B293-0A7D-F65D-0C62-041C519C848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93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3AC9102B-CEF5-104E-5EA0-FA67DCA1D9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CFE6132C-CF0B-50F0-5DA8-1D12B0328388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8635AE3E-4AC4-B96A-34C5-A8DFD30CA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298" y="2762756"/>
            <a:ext cx="3851705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E4AB58-59AD-FDF2-21D4-4B0FEED4408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367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Title Only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71ADD7FD-C62B-6584-44A8-86C6612F3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4596" y="697355"/>
            <a:ext cx="5491404" cy="459565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BD960A8-834E-3646-5B0D-6EA04F58128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4A91073-A420-2BFD-DD7A-C3A4E49FD5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728" y="1658618"/>
            <a:ext cx="5491320" cy="3100388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9DFC6E-914B-0A4F-7807-D6C734241C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696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. Title Only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494A9ED-CB4A-6CAE-4B3C-D11EB8C7E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4596" y="697355"/>
            <a:ext cx="5491404" cy="459565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BCE1AFD5-1BBA-E426-A96F-80CCA5736FE3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137AF46-0D45-93CD-FA28-1CC6EE71F5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4680" y="1658618"/>
            <a:ext cx="5491320" cy="3100388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B6E0B7-2E19-CA4D-843C-C55F945919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6F48FC0-F653-68DA-C5F1-A699953A4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920BFA9-A4B7-7366-4E27-58E727E9676C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CCA3130-C716-EE7B-6FF9-B3DE907ACD2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17AFDAF-9E10-E730-2404-D4C9DBBF0AE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699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. Title Only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CEEBBE9-CC08-98A3-CE03-77F9141C3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4596" y="697355"/>
            <a:ext cx="5491404" cy="459566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64EA826-1C97-E3F9-C6E2-BBEBFD1CE9DB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F589C0D9-DAC8-1E43-9671-A73686A4C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6304" y="1658618"/>
            <a:ext cx="5491320" cy="3100388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817FF5-1252-5E2E-7CAB-81E197155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EF23DDB-3E90-DC65-647B-AD0F02B48E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0C50E39-EF07-5DF7-0015-D2985D98C103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794C2D-0F0A-EA89-E809-A46E73670E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DFA0330-4F5D-9B24-AB2D-B4270C897A2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187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. 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64EA826-1C97-E3F9-C6E2-BBEBFD1CE9DB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3659A5-D5C9-224B-DE5C-0192E28E15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17" name="Text placeholder">
            <a:extLst>
              <a:ext uri="{FF2B5EF4-FFF2-40B4-BE49-F238E27FC236}">
                <a16:creationId xmlns:a16="http://schemas.microsoft.com/office/drawing/2014/main" id="{CADC441B-3E56-71E6-F18C-8826E5B788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728" y="1753946"/>
            <a:ext cx="10973373" cy="39930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2D656876-4FF2-1134-8909-15AA57B7F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727" y="685728"/>
            <a:ext cx="10973373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459CFD-B57E-A5AB-2F40-512FC199A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3647862-EB59-576A-770A-70A500E688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BBE5292-233A-1AA3-E9BB-B11086641DB2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AEEEE7-DFFC-EF69-47FB-18F8B6C948E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59F042-AFAF-9970-A9D4-9F3741A98D3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986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. 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3659A5-D5C9-224B-DE5C-0192E28E15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17" name="Text placeholder">
            <a:extLst>
              <a:ext uri="{FF2B5EF4-FFF2-40B4-BE49-F238E27FC236}">
                <a16:creationId xmlns:a16="http://schemas.microsoft.com/office/drawing/2014/main" id="{CADC441B-3E56-71E6-F18C-8826E5B788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728" y="1753946"/>
            <a:ext cx="10973373" cy="39930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2D656876-4FF2-1134-8909-15AA57B7F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727" y="685728"/>
            <a:ext cx="10973373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459CFD-B57E-A5AB-2F40-512FC199A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2A03F6F-4D43-9539-AFD6-63F3D0B17C63}"/>
              </a:ext>
            </a:extLst>
          </p:cNvPr>
          <p:cNvSpPr txBox="1">
            <a:spLocks/>
          </p:cNvSpPr>
          <p:nvPr userDrawn="1"/>
        </p:nvSpPr>
        <p:spPr>
          <a:xfrm>
            <a:off x="11764479" y="6465189"/>
            <a:ext cx="372106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77B890-3185-7E6B-5828-0038338F14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9357429" y="6201343"/>
            <a:ext cx="551296" cy="589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909E3C8-C34B-EB28-1A04-3D762EE2896D}"/>
              </a:ext>
            </a:extLst>
          </p:cNvPr>
          <p:cNvSpPr txBox="1"/>
          <p:nvPr userDrawn="1"/>
        </p:nvSpPr>
        <p:spPr>
          <a:xfrm>
            <a:off x="9952746" y="6543333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4DA542-CBFC-C5BA-0BF2-DBED82275EAA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908725" y="6228770"/>
            <a:ext cx="778277" cy="3083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BD64057-7DEE-72F8-7310-4962C89923D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70468" y="6222239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336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. 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64EA826-1C97-E3F9-C6E2-BBEBFD1CE9DB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4" name="Picture Placeholder 1/3 right">
            <a:extLst>
              <a:ext uri="{FF2B5EF4-FFF2-40B4-BE49-F238E27FC236}">
                <a16:creationId xmlns:a16="http://schemas.microsoft.com/office/drawing/2014/main" id="{48E63071-69F4-DE38-0D32-3BF6A8FBE14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C26954E9-DA60-4EE4-A649-E110C7F881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99728" y="1671923"/>
            <a:ext cx="7090154" cy="411946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D5174035-77AF-CD06-DA4C-F2658B79B8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728" y="688774"/>
            <a:ext cx="709015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3659A5-D5C9-224B-DE5C-0192E28E15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B9CA796-5AFA-10DD-2A53-7087322FC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E552F6E-E727-4853-F0C0-5BC97E5C42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64953A5-D64D-2684-B0B3-0DF2C1A7DDE1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3E26964-6CED-44FE-A368-DB46863EBD1C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3474522-9F52-9A6F-0BCD-0346C6808B6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869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9C4D83D-C61A-E0EB-B062-B3A7D1AC40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8" r="32300"/>
          <a:stretch/>
        </p:blipFill>
        <p:spPr>
          <a:xfrm>
            <a:off x="3956308" y="0"/>
            <a:ext cx="8235692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64EA826-1C97-E3F9-C6E2-BBEBFD1CE9DB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8" name="Quote placeholder">
            <a:extLst>
              <a:ext uri="{FF2B5EF4-FFF2-40B4-BE49-F238E27FC236}">
                <a16:creationId xmlns:a16="http://schemas.microsoft.com/office/drawing/2014/main" id="{FD20B548-3154-0070-7006-DF74DE60F5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926749"/>
            <a:ext cx="8320962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3599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>
                <a:solidFill>
                  <a:srgbClr val="0270F4"/>
                </a:solidFill>
              </a:defRPr>
            </a:lvl2pPr>
          </a:lstStyle>
          <a:p>
            <a:pPr lvl="0"/>
            <a:r>
              <a:rPr lang="en-US" noProof="0"/>
              <a:t>“Quote goes here and here.”</a:t>
            </a:r>
          </a:p>
          <a:p>
            <a:pPr lvl="1"/>
            <a:endParaRPr lang="en-US" noProof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A1A16D0-2BDC-1E08-3367-12C81C3BD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C328CDA-F38B-3699-E175-7DCE7E460D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F920D52-5FC4-07B8-C890-14AE9D9F3BBA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BE4821-7BD4-24CD-7D5A-2D33E147834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891E0ED-CE53-C868-5FC8-99ABA421A2C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056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S Trafo 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Blue-Dynamic" descr="{&quot;templafy&quot;:{&quot;id&quot;:&quot;1824e81d-c1c8-47e8-b3d3-bc3f11cc2402&quot;}}">
            <a:extLst>
              <a:ext uri="{FF2B5EF4-FFF2-40B4-BE49-F238E27FC236}">
                <a16:creationId xmlns:a16="http://schemas.microsoft.com/office/drawing/2014/main" id="{65992DD7-F456-F593-DE55-17D43CC1A2C0}"/>
              </a:ext>
            </a:extLst>
          </p:cNvPr>
          <p:cNvSpPr>
            <a:spLocks/>
          </p:cNvSpPr>
          <p:nvPr userDrawn="1"/>
        </p:nvSpPr>
        <p:spPr bwMode="gray">
          <a:xfrm>
            <a:off x="287931" y="360000"/>
            <a:ext cx="4318875" cy="36000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54" tIns="71962" rIns="89954" bIns="71962" rtlCol="0" anchor="ctr"/>
          <a:lstStyle/>
          <a:p>
            <a:pPr marR="0" algn="ctr" defTabSz="913852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8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" panose="020B0503030000000003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63903B-AE32-6F9B-859B-0223B72AF5C5}"/>
              </a:ext>
            </a:extLst>
          </p:cNvPr>
          <p:cNvSpPr/>
          <p:nvPr userDrawn="1"/>
        </p:nvSpPr>
        <p:spPr bwMode="gray">
          <a:xfrm>
            <a:off x="6353356" y="0"/>
            <a:ext cx="5838645" cy="6858000"/>
          </a:xfrm>
          <a:prstGeom prst="rect">
            <a:avLst/>
          </a:prstGeom>
          <a:solidFill>
            <a:srgbClr val="C3E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20FD1B2F-E85F-DB92-2CC5-07C1028D1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560" y="689102"/>
            <a:ext cx="5494439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">
            <a:extLst>
              <a:ext uri="{FF2B5EF4-FFF2-40B4-BE49-F238E27FC236}">
                <a16:creationId xmlns:a16="http://schemas.microsoft.com/office/drawing/2014/main" id="{EF292C6F-A76A-CE65-9F98-09671D3C11B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599728" y="1380632"/>
            <a:ext cx="5494439" cy="7860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9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.</a:t>
            </a:r>
          </a:p>
        </p:txBody>
      </p: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36A1D53-BAB3-0BFF-F484-9213952413DE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black">
          <a:xfrm>
            <a:off x="599728" y="2166692"/>
            <a:ext cx="5483516" cy="353093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 marL="359820" indent="0">
              <a:buFontTx/>
              <a:buNone/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lvl="0"/>
            <a:r>
              <a:rPr lang="en-US" noProof="0"/>
              <a:t>Another area for description text to support messaging</a:t>
            </a:r>
          </a:p>
        </p:txBody>
      </p:sp>
      <p:sp>
        <p:nvSpPr>
          <p:cNvPr id="14" name="Text Placeholder">
            <a:extLst>
              <a:ext uri="{FF2B5EF4-FFF2-40B4-BE49-F238E27FC236}">
                <a16:creationId xmlns:a16="http://schemas.microsoft.com/office/drawing/2014/main" id="{B46981F0-F7E9-49BA-6574-1BF90394FB0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black">
          <a:xfrm>
            <a:off x="8536735" y="234000"/>
            <a:ext cx="2442392" cy="453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399" b="0" i="0">
                <a:ln>
                  <a:noFill/>
                </a:ln>
                <a:solidFill>
                  <a:srgbClr val="002A86"/>
                </a:solidFill>
                <a:latin typeface="+mj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Title two</a:t>
            </a: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3ADC65C2-9871-7D21-7B23-952B2BF9B210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black">
          <a:xfrm>
            <a:off x="8536735" y="688284"/>
            <a:ext cx="2975232" cy="5277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text to explain the title and provide more information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655E11B-440A-1F9E-3389-C6B4A417086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3355" y="0"/>
            <a:ext cx="1913268" cy="1553060"/>
          </a:xfrm>
          <a:solidFill>
            <a:srgbClr val="D7EEFD"/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1">
            <a:extLst>
              <a:ext uri="{FF2B5EF4-FFF2-40B4-BE49-F238E27FC236}">
                <a16:creationId xmlns:a16="http://schemas.microsoft.com/office/drawing/2014/main" id="{36DAC5F5-3F4E-2745-D24C-507C595D4A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3355" y="1684578"/>
            <a:ext cx="1913268" cy="1553060"/>
          </a:xfrm>
          <a:solidFill>
            <a:srgbClr val="D7EEFD"/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1">
            <a:extLst>
              <a:ext uri="{FF2B5EF4-FFF2-40B4-BE49-F238E27FC236}">
                <a16:creationId xmlns:a16="http://schemas.microsoft.com/office/drawing/2014/main" id="{A1BF824C-B965-9852-59CA-4F7B3F005D1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53355" y="3439381"/>
            <a:ext cx="1913268" cy="1553060"/>
          </a:xfrm>
          <a:solidFill>
            <a:srgbClr val="D7EEFD"/>
          </a:solidFill>
        </p:spPr>
        <p:txBody>
          <a:bodyPr/>
          <a:lstStyle/>
          <a:p>
            <a:endParaRPr lang="en-US"/>
          </a:p>
        </p:txBody>
      </p:sp>
      <p:sp>
        <p:nvSpPr>
          <p:cNvPr id="28" name="Picture Placeholder 21">
            <a:extLst>
              <a:ext uri="{FF2B5EF4-FFF2-40B4-BE49-F238E27FC236}">
                <a16:creationId xmlns:a16="http://schemas.microsoft.com/office/drawing/2014/main" id="{EA227FA6-15C8-EB62-3C72-FC1131EA9C0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353355" y="5149735"/>
            <a:ext cx="1913268" cy="1553060"/>
          </a:xfrm>
          <a:solidFill>
            <a:srgbClr val="D7EEFD"/>
          </a:solidFill>
        </p:spPr>
        <p:txBody>
          <a:bodyPr/>
          <a:lstStyle/>
          <a:p>
            <a:endParaRPr lang="en-US"/>
          </a:p>
        </p:txBody>
      </p:sp>
      <p:sp>
        <p:nvSpPr>
          <p:cNvPr id="29" name="Text Placeholder">
            <a:extLst>
              <a:ext uri="{FF2B5EF4-FFF2-40B4-BE49-F238E27FC236}">
                <a16:creationId xmlns:a16="http://schemas.microsoft.com/office/drawing/2014/main" id="{C198B61B-D78B-FD9D-1EE2-A7770DB20ABB}"/>
              </a:ext>
            </a:extLst>
          </p:cNvPr>
          <p:cNvSpPr>
            <a:spLocks noGrp="1"/>
          </p:cNvSpPr>
          <p:nvPr>
            <p:ph idx="23" hasCustomPrompt="1"/>
          </p:nvPr>
        </p:nvSpPr>
        <p:spPr bwMode="black">
          <a:xfrm>
            <a:off x="8536735" y="1941420"/>
            <a:ext cx="2442392" cy="453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399" b="0" i="0">
                <a:ln>
                  <a:noFill/>
                </a:ln>
                <a:solidFill>
                  <a:srgbClr val="002A86"/>
                </a:solidFill>
                <a:latin typeface="+mj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Title two</a:t>
            </a: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EBE12AD8-6C4D-AC4B-29E3-85AB47EC332C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black">
          <a:xfrm>
            <a:off x="8536735" y="2395704"/>
            <a:ext cx="2975232" cy="5277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text to explain the title and provide more information</a:t>
            </a:r>
          </a:p>
        </p:txBody>
      </p:sp>
      <p:sp>
        <p:nvSpPr>
          <p:cNvPr id="31" name="Text Placeholder">
            <a:extLst>
              <a:ext uri="{FF2B5EF4-FFF2-40B4-BE49-F238E27FC236}">
                <a16:creationId xmlns:a16="http://schemas.microsoft.com/office/drawing/2014/main" id="{8EE907C9-0A10-3DD0-C17D-A7BE2FB373B2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black">
          <a:xfrm>
            <a:off x="8536735" y="3754035"/>
            <a:ext cx="2442392" cy="453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399" b="0" i="0">
                <a:ln>
                  <a:noFill/>
                </a:ln>
                <a:solidFill>
                  <a:srgbClr val="002A86"/>
                </a:solidFill>
                <a:latin typeface="+mj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Title two</a:t>
            </a: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72F8F69D-25EE-7B50-DCB5-CE3264D33CC9}"/>
              </a:ext>
            </a:extLst>
          </p:cNvPr>
          <p:cNvSpPr>
            <a:spLocks noGrp="1"/>
          </p:cNvSpPr>
          <p:nvPr>
            <p:ph idx="26" hasCustomPrompt="1"/>
          </p:nvPr>
        </p:nvSpPr>
        <p:spPr bwMode="black">
          <a:xfrm>
            <a:off x="8536735" y="4208319"/>
            <a:ext cx="2975232" cy="5277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text to explain the title and provide more information</a:t>
            </a: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AAE0934B-9089-4163-1E8C-8B279F64A0DE}"/>
              </a:ext>
            </a:extLst>
          </p:cNvPr>
          <p:cNvSpPr>
            <a:spLocks noGrp="1"/>
          </p:cNvSpPr>
          <p:nvPr>
            <p:ph idx="27" hasCustomPrompt="1"/>
          </p:nvPr>
        </p:nvSpPr>
        <p:spPr bwMode="black">
          <a:xfrm>
            <a:off x="8536735" y="5429087"/>
            <a:ext cx="2442392" cy="453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399" b="0" i="0">
                <a:ln>
                  <a:noFill/>
                </a:ln>
                <a:solidFill>
                  <a:srgbClr val="002A86"/>
                </a:solidFill>
                <a:latin typeface="+mj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Title two</a:t>
            </a: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17D270C4-438F-B4DF-5FDD-4DE9A8DF5605}"/>
              </a:ext>
            </a:extLst>
          </p:cNvPr>
          <p:cNvSpPr>
            <a:spLocks noGrp="1"/>
          </p:cNvSpPr>
          <p:nvPr>
            <p:ph idx="28" hasCustomPrompt="1"/>
          </p:nvPr>
        </p:nvSpPr>
        <p:spPr bwMode="black">
          <a:xfrm>
            <a:off x="8536735" y="5883371"/>
            <a:ext cx="2975232" cy="5277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text to explain the title and provide more information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435B9568-3CF9-1401-F59E-F90CF2AB4F32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17E7A9-8F1F-CE54-E47C-3FA9404753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C615E14-0046-09A1-362D-C543555736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1412BDB-9E96-62D5-FA3A-ECBE28FD65F8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C958578-70B3-F7D6-ED3B-A59A1C6B041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DE50D23-67D2-9DEB-31E3-76BE9F6F887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558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65">
          <p15:clr>
            <a:srgbClr val="FBAE40"/>
          </p15:clr>
        </p15:guide>
        <p15:guide id="5" orient="horz" pos="864">
          <p15:clr>
            <a:srgbClr val="FBAE40"/>
          </p15:clr>
        </p15:guide>
        <p15:guide id="7" orient="horz" pos="3648">
          <p15:clr>
            <a:srgbClr val="FBAE40"/>
          </p15:clr>
        </p15:guide>
        <p15:guide id="8" pos="722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8C8E29D-D509-152A-3548-0740A0CADA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25" r="-1"/>
          <a:stretch/>
        </p:blipFill>
        <p:spPr>
          <a:xfrm>
            <a:off x="1" y="10594"/>
            <a:ext cx="12191999" cy="6858000"/>
          </a:xfrm>
          <a:prstGeom prst="rect">
            <a:avLst/>
          </a:prstGeom>
        </p:spPr>
      </p:pic>
      <p:pic>
        <p:nvPicPr>
          <p:cNvPr id="1106340232" name="LogoBlue-Dynamic" descr="{&quot;templafy&quot;:{&quot;id&quot;:&quot;55793fa0-167a-441b-91c9-fad96368d326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2647C2DE-A8A3-90D5-C5EA-D5F521E9C1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46" y="2053480"/>
            <a:ext cx="4177716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10AFD05-8F57-A63D-16C3-943339FA54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946" y="4824476"/>
            <a:ext cx="2366999" cy="252000"/>
          </a:xfrm>
        </p:spPr>
        <p:txBody>
          <a:bodyPr>
            <a:noAutofit/>
          </a:bodyPr>
          <a:lstStyle>
            <a:lvl1pPr>
              <a:defRPr lang="en-GB" sz="900" b="0" i="0" kern="1200" dirty="0" smtClean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</a:pPr>
            <a:r>
              <a:rPr lang="en-GB"/>
              <a:t>INTERNAL – SAP and Partners Only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111DE14-7DB6-82B2-93D9-54AEDDC13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Month 00, 2023</a:t>
            </a:r>
            <a:endParaRPr lang="en-SG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09F4329-6FB4-81F8-EA2D-C9B209F6AA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946" y="394063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Name, SAP</a:t>
            </a:r>
            <a:endParaRPr lang="en-SG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1A335C1-22BD-F0D9-9338-5967302C5F7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10542" t="21987" b="10542"/>
          <a:stretch>
            <a:fillRect/>
          </a:stretch>
        </p:blipFill>
        <p:spPr>
          <a:xfrm>
            <a:off x="6334477" y="2761165"/>
            <a:ext cx="1939292" cy="972541"/>
          </a:xfrm>
          <a:custGeom>
            <a:avLst/>
            <a:gdLst>
              <a:gd name="connsiteX0" fmla="*/ 0 w 1939797"/>
              <a:gd name="connsiteY0" fmla="*/ 0 h 972541"/>
              <a:gd name="connsiteX1" fmla="*/ 1939797 w 1939797"/>
              <a:gd name="connsiteY1" fmla="*/ 5286 h 972541"/>
              <a:gd name="connsiteX2" fmla="*/ 967256 w 1939797"/>
              <a:gd name="connsiteY2" fmla="*/ 967256 h 972541"/>
              <a:gd name="connsiteX3" fmla="*/ 0 w 1939797"/>
              <a:gd name="connsiteY3" fmla="*/ 972541 h 97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9797" h="972541">
                <a:moveTo>
                  <a:pt x="0" y="0"/>
                </a:moveTo>
                <a:lnTo>
                  <a:pt x="1939797" y="5286"/>
                </a:lnTo>
                <a:lnTo>
                  <a:pt x="967256" y="967256"/>
                </a:lnTo>
                <a:lnTo>
                  <a:pt x="0" y="972541"/>
                </a:lnTo>
                <a:close/>
              </a:path>
            </a:pathLst>
          </a:custGeom>
        </p:spPr>
      </p:pic>
      <p:sp>
        <p:nvSpPr>
          <p:cNvPr id="24" name="Freeform 23">
            <a:extLst>
              <a:ext uri="{FF2B5EF4-FFF2-40B4-BE49-F238E27FC236}">
                <a16:creationId xmlns:a16="http://schemas.microsoft.com/office/drawing/2014/main" id="{B2834B26-E815-B3BB-34E8-7F51316C210F}"/>
              </a:ext>
            </a:extLst>
          </p:cNvPr>
          <p:cNvSpPr/>
          <p:nvPr userDrawn="1"/>
        </p:nvSpPr>
        <p:spPr bwMode="gray">
          <a:xfrm>
            <a:off x="2141249" y="-1142605"/>
            <a:ext cx="1939292" cy="972541"/>
          </a:xfrm>
          <a:custGeom>
            <a:avLst/>
            <a:gdLst>
              <a:gd name="connsiteX0" fmla="*/ 0 w 1939797"/>
              <a:gd name="connsiteY0" fmla="*/ 0 h 972541"/>
              <a:gd name="connsiteX1" fmla="*/ 1939797 w 1939797"/>
              <a:gd name="connsiteY1" fmla="*/ 5286 h 972541"/>
              <a:gd name="connsiteX2" fmla="*/ 967256 w 1939797"/>
              <a:gd name="connsiteY2" fmla="*/ 967256 h 972541"/>
              <a:gd name="connsiteX3" fmla="*/ 0 w 1939797"/>
              <a:gd name="connsiteY3" fmla="*/ 972541 h 972541"/>
              <a:gd name="connsiteX4" fmla="*/ 0 w 1939797"/>
              <a:gd name="connsiteY4" fmla="*/ 0 h 97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9797" h="972541">
                <a:moveTo>
                  <a:pt x="0" y="0"/>
                </a:moveTo>
                <a:lnTo>
                  <a:pt x="1939797" y="5286"/>
                </a:lnTo>
                <a:lnTo>
                  <a:pt x="967256" y="967256"/>
                </a:lnTo>
                <a:lnTo>
                  <a:pt x="0" y="97254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4C84FB62-3EE8-2C03-B80C-F35123EA35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16162" t="11222" r="3023" b="16534"/>
          <a:stretch>
            <a:fillRect/>
          </a:stretch>
        </p:blipFill>
        <p:spPr>
          <a:xfrm>
            <a:off x="10234424" y="4733037"/>
            <a:ext cx="1939292" cy="972541"/>
          </a:xfrm>
          <a:custGeom>
            <a:avLst/>
            <a:gdLst>
              <a:gd name="connsiteX0" fmla="*/ 0 w 1939797"/>
              <a:gd name="connsiteY0" fmla="*/ 0 h 972541"/>
              <a:gd name="connsiteX1" fmla="*/ 1939797 w 1939797"/>
              <a:gd name="connsiteY1" fmla="*/ 5286 h 972541"/>
              <a:gd name="connsiteX2" fmla="*/ 967256 w 1939797"/>
              <a:gd name="connsiteY2" fmla="*/ 967256 h 972541"/>
              <a:gd name="connsiteX3" fmla="*/ 0 w 1939797"/>
              <a:gd name="connsiteY3" fmla="*/ 972541 h 97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9797" h="972541">
                <a:moveTo>
                  <a:pt x="0" y="0"/>
                </a:moveTo>
                <a:lnTo>
                  <a:pt x="1939797" y="5286"/>
                </a:lnTo>
                <a:lnTo>
                  <a:pt x="967256" y="967256"/>
                </a:lnTo>
                <a:lnTo>
                  <a:pt x="0" y="972541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1C096C8-C1E2-9111-CA84-DF9DB3E691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B022273-B805-3D68-85E0-B429B9A41271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4667B79-1D69-3605-E6CB-83CE85642BD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786F3ED-3915-76ED-F6D2-683F858C430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891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95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20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S Trafo 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Blue-Dynamic" descr="{&quot;templafy&quot;:{&quot;id&quot;:&quot;1824e81d-c1c8-47e8-b3d3-bc3f11cc2402&quot;}}">
            <a:extLst>
              <a:ext uri="{FF2B5EF4-FFF2-40B4-BE49-F238E27FC236}">
                <a16:creationId xmlns:a16="http://schemas.microsoft.com/office/drawing/2014/main" id="{65992DD7-F456-F593-DE55-17D43CC1A2C0}"/>
              </a:ext>
            </a:extLst>
          </p:cNvPr>
          <p:cNvSpPr>
            <a:spLocks/>
          </p:cNvSpPr>
          <p:nvPr userDrawn="1"/>
        </p:nvSpPr>
        <p:spPr bwMode="gray">
          <a:xfrm>
            <a:off x="287931" y="360000"/>
            <a:ext cx="4318875" cy="36000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54" tIns="71962" rIns="89954" bIns="71962" rtlCol="0" anchor="ctr"/>
          <a:lstStyle/>
          <a:p>
            <a:pPr marR="0" algn="ctr" defTabSz="913852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8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" panose="020B0503030000000003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63903B-AE32-6F9B-859B-0223B72AF5C5}"/>
              </a:ext>
            </a:extLst>
          </p:cNvPr>
          <p:cNvSpPr/>
          <p:nvPr userDrawn="1"/>
        </p:nvSpPr>
        <p:spPr bwMode="gray">
          <a:xfrm>
            <a:off x="7768891" y="0"/>
            <a:ext cx="4423109" cy="6858000"/>
          </a:xfrm>
          <a:prstGeom prst="rect">
            <a:avLst/>
          </a:prstGeom>
          <a:solidFill>
            <a:srgbClr val="002A86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20FD1B2F-E85F-DB92-2CC5-07C1028D1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728" y="691604"/>
            <a:ext cx="6857366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">
            <a:extLst>
              <a:ext uri="{FF2B5EF4-FFF2-40B4-BE49-F238E27FC236}">
                <a16:creationId xmlns:a16="http://schemas.microsoft.com/office/drawing/2014/main" id="{EF292C6F-A76A-CE65-9F98-09671D3C11B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599727" y="1386812"/>
            <a:ext cx="6857367" cy="8313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9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</a:t>
            </a:r>
          </a:p>
        </p:txBody>
      </p:sp>
      <p:sp>
        <p:nvSpPr>
          <p:cNvPr id="7" name="Text Placeholder">
            <a:extLst>
              <a:ext uri="{FF2B5EF4-FFF2-40B4-BE49-F238E27FC236}">
                <a16:creationId xmlns:a16="http://schemas.microsoft.com/office/drawing/2014/main" id="{CBE1907D-8496-1790-4B1B-925937E29E58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black">
          <a:xfrm>
            <a:off x="599728" y="2757042"/>
            <a:ext cx="6857368" cy="2758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 Description and or summary text that can have a stronger hierarchy over the right column body copy. Description and or summary text that can have a stronger hierarchy over the right column body copy.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endParaRPr lang="en-US" noProof="0"/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D3630FCE-1E11-5E1F-BE7D-E472E8E6FCD7}"/>
              </a:ext>
            </a:extLst>
          </p:cNvPr>
          <p:cNvSpPr>
            <a:spLocks noGrp="1"/>
          </p:cNvSpPr>
          <p:nvPr>
            <p:ph idx="11" hasCustomPrompt="1"/>
          </p:nvPr>
        </p:nvSpPr>
        <p:spPr bwMode="black">
          <a:xfrm>
            <a:off x="8182126" y="1406251"/>
            <a:ext cx="3410146" cy="3481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chemeClr val="bg1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 Description and or summery text that can have a stronger hierarchy over the right column body copy.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endParaRPr lang="en-US" noProof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29A9A70-506E-CACA-391C-0C7ABCBDDD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60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19706D4-A1FC-0D94-0DC0-52A1C28F2A5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041E79-284E-93D1-B756-1B94E87718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F16AC61-F5A6-16D9-5E88-2FAF63DEFF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B511F9A-59ED-93D9-ED50-BAEEB9C79CE8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BC7196-FA67-3511-837D-2413A19C591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A6361E9-64AC-BB4F-BFEA-E27C4BB090D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773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65">
          <p15:clr>
            <a:srgbClr val="FBAE40"/>
          </p15:clr>
        </p15:guide>
        <p15:guide id="5" orient="horz" pos="864">
          <p15:clr>
            <a:srgbClr val="FBAE40"/>
          </p15:clr>
        </p15:guide>
        <p15:guide id="7" orient="horz" pos="3648">
          <p15:clr>
            <a:srgbClr val="FBAE40"/>
          </p15:clr>
        </p15:guide>
        <p15:guide id="8" pos="722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D7EE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F80E751-9CD7-0E81-0DB2-7B3970227168}"/>
              </a:ext>
            </a:extLst>
          </p:cNvPr>
          <p:cNvSpPr/>
          <p:nvPr userDrawn="1"/>
        </p:nvSpPr>
        <p:spPr bwMode="gray">
          <a:xfrm>
            <a:off x="0" y="0"/>
            <a:ext cx="12192000" cy="1557338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C248EFAF-9ED8-ABA8-9E74-38D368F3BC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5976" y="689953"/>
            <a:ext cx="10955102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9DEEA1B-AF00-67E2-9424-25C84F2C7E30}"/>
              </a:ext>
            </a:extLst>
          </p:cNvPr>
          <p:cNvGrpSpPr/>
          <p:nvPr userDrawn="1"/>
        </p:nvGrpSpPr>
        <p:grpSpPr>
          <a:xfrm>
            <a:off x="2604958" y="1783342"/>
            <a:ext cx="9110739" cy="3762970"/>
            <a:chOff x="2178540" y="1783342"/>
            <a:chExt cx="9540208" cy="4319659"/>
          </a:xfrm>
        </p:grpSpPr>
        <p:sp>
          <p:nvSpPr>
            <p:cNvPr id="6" name="Rectangle: Rounded Corners 98">
              <a:extLst>
                <a:ext uri="{FF2B5EF4-FFF2-40B4-BE49-F238E27FC236}">
                  <a16:creationId xmlns:a16="http://schemas.microsoft.com/office/drawing/2014/main" id="{B7D9DF8E-FD43-46A0-0631-073B5902F558}"/>
                </a:ext>
              </a:extLst>
            </p:cNvPr>
            <p:cNvSpPr/>
            <p:nvPr userDrawn="1"/>
          </p:nvSpPr>
          <p:spPr>
            <a:xfrm>
              <a:off x="8619096" y="1783342"/>
              <a:ext cx="3099652" cy="4319659"/>
            </a:xfrm>
            <a:prstGeom prst="roundRect">
              <a:avLst>
                <a:gd name="adj" fmla="val 2322"/>
              </a:avLst>
            </a:prstGeom>
            <a:solidFill>
              <a:schemeClr val="bg1">
                <a:alpha val="87225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33645" dist="38100" dir="2700000" algn="tl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68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0884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Rectangle: Rounded Corners 98">
              <a:extLst>
                <a:ext uri="{FF2B5EF4-FFF2-40B4-BE49-F238E27FC236}">
                  <a16:creationId xmlns:a16="http://schemas.microsoft.com/office/drawing/2014/main" id="{0BDC2D50-E1E9-3734-E216-DC65948E9F77}"/>
                </a:ext>
              </a:extLst>
            </p:cNvPr>
            <p:cNvSpPr/>
            <p:nvPr userDrawn="1"/>
          </p:nvSpPr>
          <p:spPr>
            <a:xfrm>
              <a:off x="5392192" y="1783342"/>
              <a:ext cx="3099652" cy="4319659"/>
            </a:xfrm>
            <a:prstGeom prst="roundRect">
              <a:avLst>
                <a:gd name="adj" fmla="val 2322"/>
              </a:avLst>
            </a:prstGeom>
            <a:solidFill>
              <a:schemeClr val="bg1">
                <a:alpha val="87225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33645" dist="38100" dir="2700000" algn="tl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68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0884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Rectangle: Rounded Corners 98">
              <a:extLst>
                <a:ext uri="{FF2B5EF4-FFF2-40B4-BE49-F238E27FC236}">
                  <a16:creationId xmlns:a16="http://schemas.microsoft.com/office/drawing/2014/main" id="{3357C31E-4D1C-622C-E226-D123CD393A6C}"/>
                </a:ext>
              </a:extLst>
            </p:cNvPr>
            <p:cNvSpPr/>
            <p:nvPr userDrawn="1"/>
          </p:nvSpPr>
          <p:spPr>
            <a:xfrm>
              <a:off x="2178540" y="1783342"/>
              <a:ext cx="3099652" cy="4319659"/>
            </a:xfrm>
            <a:prstGeom prst="roundRect">
              <a:avLst>
                <a:gd name="adj" fmla="val 2322"/>
              </a:avLst>
            </a:prstGeom>
            <a:solidFill>
              <a:schemeClr val="bg1">
                <a:alpha val="87225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33645" dist="38100" dir="2700000" algn="tl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68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0884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1F1DB9E7-2CD6-57A5-F5FB-FD6C55F40187}"/>
              </a:ext>
            </a:extLst>
          </p:cNvPr>
          <p:cNvGrpSpPr/>
          <p:nvPr userDrawn="1"/>
        </p:nvGrpSpPr>
        <p:grpSpPr>
          <a:xfrm>
            <a:off x="640922" y="2820852"/>
            <a:ext cx="1590173" cy="791338"/>
            <a:chOff x="381981" y="3201325"/>
            <a:chExt cx="1912068" cy="951279"/>
          </a:xfrm>
        </p:grpSpPr>
        <p:pic>
          <p:nvPicPr>
            <p:cNvPr id="11" name="Picture 10" descr="A blue and black square&#10;&#10;Description automatically generated">
              <a:extLst>
                <a:ext uri="{FF2B5EF4-FFF2-40B4-BE49-F238E27FC236}">
                  <a16:creationId xmlns:a16="http://schemas.microsoft.com/office/drawing/2014/main" id="{DE3C0919-7A28-C554-F283-A75A30088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981" y="3201325"/>
              <a:ext cx="1912068" cy="951279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0745D69-DCF4-1354-B3CC-D07BFA90BA6C}"/>
                </a:ext>
              </a:extLst>
            </p:cNvPr>
            <p:cNvSpPr txBox="1"/>
            <p:nvPr/>
          </p:nvSpPr>
          <p:spPr>
            <a:xfrm>
              <a:off x="473597" y="3277229"/>
              <a:ext cx="1332478" cy="7994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Ins="0" anchor="ctr">
              <a:no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72 Brand"/>
                  <a:ea typeface="+mn-ea"/>
                  <a:cs typeface="+mn-cs"/>
                </a:rPr>
                <a:t>Objectiv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46ECF9-AEA4-2014-4003-4147B1571929}"/>
              </a:ext>
            </a:extLst>
          </p:cNvPr>
          <p:cNvGrpSpPr/>
          <p:nvPr userDrawn="1"/>
        </p:nvGrpSpPr>
        <p:grpSpPr>
          <a:xfrm>
            <a:off x="640922" y="3787913"/>
            <a:ext cx="1590173" cy="791338"/>
            <a:chOff x="381981" y="3217255"/>
            <a:chExt cx="1912068" cy="951279"/>
          </a:xfrm>
        </p:grpSpPr>
        <p:pic>
          <p:nvPicPr>
            <p:cNvPr id="14" name="Picture 13" descr="A blue and black square&#10;&#10;Description automatically generated">
              <a:extLst>
                <a:ext uri="{FF2B5EF4-FFF2-40B4-BE49-F238E27FC236}">
                  <a16:creationId xmlns:a16="http://schemas.microsoft.com/office/drawing/2014/main" id="{7F684874-9CEA-2FC7-DBB4-A2A3EF0CDF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56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1981" y="3217255"/>
              <a:ext cx="1912068" cy="951279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740857C-B83C-B21D-D6F7-E3B29DC633DD}"/>
                </a:ext>
              </a:extLst>
            </p:cNvPr>
            <p:cNvSpPr txBox="1"/>
            <p:nvPr/>
          </p:nvSpPr>
          <p:spPr>
            <a:xfrm>
              <a:off x="473597" y="3285193"/>
              <a:ext cx="1332478" cy="7994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Ins="0" anchor="ctr">
              <a:no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72 Brand"/>
                  <a:ea typeface="+mn-ea"/>
                  <a:cs typeface="+mn-cs"/>
                </a:rPr>
                <a:t>Audienc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038C384-1512-AEA2-BDBE-291B8C776D2A}"/>
              </a:ext>
            </a:extLst>
          </p:cNvPr>
          <p:cNvGrpSpPr/>
          <p:nvPr userDrawn="1"/>
        </p:nvGrpSpPr>
        <p:grpSpPr>
          <a:xfrm>
            <a:off x="640922" y="4754974"/>
            <a:ext cx="1590173" cy="791338"/>
            <a:chOff x="381981" y="3201325"/>
            <a:chExt cx="1912068" cy="951279"/>
          </a:xfrm>
        </p:grpSpPr>
        <p:pic>
          <p:nvPicPr>
            <p:cNvPr id="17" name="Picture 16" descr="A blue and black square&#10;&#10;Description automatically generated">
              <a:extLst>
                <a:ext uri="{FF2B5EF4-FFF2-40B4-BE49-F238E27FC236}">
                  <a16:creationId xmlns:a16="http://schemas.microsoft.com/office/drawing/2014/main" id="{B867F873-8855-D2CF-6145-A6AEC7F65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8000"/>
                      </a14:imgEffect>
                      <a14:imgEffect>
                        <a14:colorTemperature colorTemp="6511"/>
                      </a14:imgEffect>
                      <a14:imgEffect>
                        <a14:saturation sat="82000"/>
                      </a14:imgEffect>
                      <a14:imgEffect>
                        <a14:brightnessContrast bright="25000" contrast="-1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1981" y="3201325"/>
              <a:ext cx="1912068" cy="951279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E3632AB-8CDA-BFF4-A0F1-A9FE5C141530}"/>
                </a:ext>
              </a:extLst>
            </p:cNvPr>
            <p:cNvSpPr txBox="1"/>
            <p:nvPr/>
          </p:nvSpPr>
          <p:spPr>
            <a:xfrm>
              <a:off x="473597" y="3269263"/>
              <a:ext cx="1332478" cy="7994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Ins="0" anchor="ctr">
              <a:no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72 Brand"/>
                  <a:ea typeface="+mn-ea"/>
                  <a:cs typeface="+mn-cs"/>
                </a:rPr>
                <a:t>Releases</a:t>
              </a: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4E39831B-80F7-DE40-505A-A5834F8AC8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4181F49F-4877-1394-6F27-BA11C15531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94300" y="1918951"/>
            <a:ext cx="2555953" cy="277813"/>
          </a:xfrm>
        </p:spPr>
        <p:txBody>
          <a:bodyPr/>
          <a:lstStyle/>
          <a:p>
            <a:pPr lvl="0"/>
            <a:r>
              <a:rPr lang="en-GB"/>
              <a:t>Click to edit Master</a:t>
            </a:r>
            <a:endParaRPr lang="en-US"/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63B58DF6-C5B1-EBC8-A3C6-B0BF90F3B7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16697" y="1918951"/>
            <a:ext cx="2532084" cy="277813"/>
          </a:xfrm>
        </p:spPr>
        <p:txBody>
          <a:bodyPr/>
          <a:lstStyle/>
          <a:p>
            <a:pPr lvl="0"/>
            <a:r>
              <a:rPr lang="en-GB"/>
              <a:t>Click to edit Master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0E4A08C2-B243-5C76-CEDD-4D58BB7F02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987662" y="1918951"/>
            <a:ext cx="2486719" cy="277813"/>
          </a:xfrm>
        </p:spPr>
        <p:txBody>
          <a:bodyPr/>
          <a:lstStyle>
            <a:lvl5pPr marL="719640" marR="0" indent="-179910" algn="l" defTabSz="1088231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GB"/>
              <a:t>Click to edit Master</a:t>
            </a:r>
            <a:endParaRPr lang="en-US"/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E0A124AB-244E-8117-8335-2AA0BC1AC285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4BE8A2E0-9BB6-D82A-A14B-1583C16955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90099" y="2378076"/>
            <a:ext cx="2569494" cy="2974975"/>
          </a:xfrm>
        </p:spPr>
        <p:txBody>
          <a:bodyPr>
            <a:norm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B9C242F6-94CD-7B76-D5C8-4BB0F4FF9C3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917494" y="2378076"/>
            <a:ext cx="2569494" cy="2974975"/>
          </a:xfrm>
        </p:spPr>
        <p:txBody>
          <a:bodyPr>
            <a:norm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4B6B7D7A-9BE6-63F4-7CFD-5258B67F46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81585" y="2378076"/>
            <a:ext cx="2569494" cy="2974975"/>
          </a:xfrm>
        </p:spPr>
        <p:txBody>
          <a:bodyPr>
            <a:norm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9A6A8A-CE8A-673C-AACE-8847945ED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068046-DD78-63FA-18E7-52C6CF6DE3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2D3D540-A8EA-DED2-120B-67E52A839650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182B30F-42AB-197F-686E-885EC75C7DA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3AF7088-F4E2-EDDF-A26D-039BECDFE6E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934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D7EE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17C417F-6DF7-5497-4705-656879130BAC}"/>
              </a:ext>
            </a:extLst>
          </p:cNvPr>
          <p:cNvSpPr/>
          <p:nvPr userDrawn="1"/>
        </p:nvSpPr>
        <p:spPr bwMode="gray">
          <a:xfrm>
            <a:off x="0" y="0"/>
            <a:ext cx="12192000" cy="1557338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39D585-B98E-2F39-794C-9321C70C12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638AA8B8-FD15-238A-CDA1-9A72EA6ED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278" y="692497"/>
            <a:ext cx="10997672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B07CCEE-2078-8A90-3632-C30B08862F2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DE89EE8-1486-4A4A-84DA-3BEDA5897B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34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A39D585-B98E-2F39-794C-9321C70C12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331EB3E-4FA3-AA2C-F31E-7FBB5AC22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638AA8B8-FD15-238A-CDA1-9A72EA6ED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278" y="692497"/>
            <a:ext cx="10997672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B07CCEE-2078-8A90-3632-C30B08862F2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51B76C0-528E-4A7B-C30F-54E0C03052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ECE886D-F5E6-DA87-3E6A-45DD9D399120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3A1F13-FDDC-492A-BF59-AB699E762BB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0D507E-03E7-830A-FA9C-A2E4812C474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994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7">
            <a:extLst>
              <a:ext uri="{FF2B5EF4-FFF2-40B4-BE49-F238E27FC236}">
                <a16:creationId xmlns:a16="http://schemas.microsoft.com/office/drawing/2014/main" id="{638AA8B8-FD15-238A-CDA1-9A72EA6ED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278" y="692497"/>
            <a:ext cx="4611683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B07CCEE-2078-8A90-3632-C30B08862F2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F3F80C-1AAD-E959-D020-E2D2703E6D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4279" y="1784992"/>
            <a:ext cx="5854762" cy="3770312"/>
          </a:xfrm>
        </p:spPr>
        <p:txBody>
          <a:bodyPr>
            <a:normAutofit/>
          </a:bodyPr>
          <a:lstStyle>
            <a:lvl1pPr>
              <a:defRPr sz="1400">
                <a:latin typeface="72 Brand" panose="020B0504030603020204" pitchFamily="34" charset="0"/>
              </a:defRPr>
            </a:lvl1pPr>
            <a:lvl2pPr>
              <a:defRPr sz="1200">
                <a:latin typeface="72 Brand" panose="020B0504030603020204" pitchFamily="34" charset="0"/>
              </a:defRPr>
            </a:lvl2pPr>
            <a:lvl3pPr>
              <a:defRPr sz="1200">
                <a:latin typeface="72 Brand" panose="020B0504030603020204" pitchFamily="34" charset="0"/>
              </a:defRPr>
            </a:lvl3pPr>
            <a:lvl4pPr>
              <a:defRPr sz="1200">
                <a:latin typeface="72 Brand" panose="020B0504030603020204" pitchFamily="34" charset="0"/>
              </a:defRPr>
            </a:lvl4pPr>
            <a:lvl5pPr>
              <a:defRPr sz="1200">
                <a:latin typeface="72 Brand" panose="020B05040306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09C954D-FD6A-CDDD-3BDD-8AC7C93840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8742A05-BAA4-051A-153A-5730E8E06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573EFAC-3851-D5DC-0F32-A569936F9ACC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E29FAD1-10BC-8524-89AD-576DA5301BC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C3CEF7A-4369-DFAC-C7C4-B4F363C077D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471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FA282329-5B5E-B020-2733-41D29645AA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25" r="-1"/>
          <a:stretch/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  <p:pic>
        <p:nvPicPr>
          <p:cNvPr id="1106340232" name="LogoBlue-Dynamic" descr="{&quot;templafy&quot;:{&quot;id&quot;:&quot;55793fa0-167a-441b-91c9-fad96368d326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064BCDE-23C9-7079-2E98-DBFE96F354B5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651433" y="1587409"/>
            <a:ext cx="4438837" cy="5523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1088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baseline="0">
                <a:solidFill>
                  <a:schemeClr val="tx1"/>
                </a:solidFill>
                <a:latin typeface="72 Brand Medium" panose="020B0504030603020204" pitchFamily="34" charset="0"/>
                <a:ea typeface="+mj-ea"/>
                <a:cs typeface="72" panose="020B0503030000000003" pitchFamily="34" charset="0"/>
              </a:defRPr>
            </a:lvl1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99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  <a:t>THANK YOU</a:t>
            </a:r>
            <a:endParaRPr kumimoji="0" lang="en-US" sz="2799" b="0" i="0" u="none" strike="noStrike" kern="1200" cap="none" spc="0" normalizeH="0" baseline="0" noProof="0">
              <a:ln>
                <a:noFill/>
              </a:ln>
              <a:solidFill>
                <a:srgbClr val="002A86"/>
              </a:solidFill>
              <a:effectLst/>
              <a:uLnTx/>
              <a:uFillTx/>
              <a:latin typeface="72 Brand" panose="020B0504030603020204" pitchFamily="34" charset="0"/>
              <a:ea typeface="+mj-ea"/>
              <a:cs typeface="72" panose="020B0503030000000003" pitchFamily="34" charset="0"/>
            </a:endParaRPr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73B6027-2348-8573-A148-D466C508BED6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B91F6D-9531-D1AE-6F01-E914982BDA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CADBA5B-DFB8-AE6B-5816-E70275942596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BDB37A-DB4D-5C53-D214-BB9E3AF843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C24146-8CC4-0034-2A22-1DCFA0D1DC0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99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95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20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erson with curly hair and blue shirt&#10;&#10;Description automatically generated">
            <a:extLst>
              <a:ext uri="{FF2B5EF4-FFF2-40B4-BE49-F238E27FC236}">
                <a16:creationId xmlns:a16="http://schemas.microsoft.com/office/drawing/2014/main" id="{E921F53B-D359-B0BB-3F8F-43BDD2E14F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9623" y="-3289"/>
            <a:ext cx="12201623" cy="6865201"/>
          </a:xfrm>
          <a:prstGeom prst="rect">
            <a:avLst/>
          </a:prstGeom>
        </p:spPr>
      </p:pic>
      <p:pic>
        <p:nvPicPr>
          <p:cNvPr id="1106340232" name="LogoBlue-Dynamic" descr="{&quot;templafy&quot;:{&quot;id&quot;:&quot;55793fa0-167a-441b-91c9-fad96368d326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B1674CB9-FF8F-FBB7-557F-0E4999596369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651433" y="1587409"/>
            <a:ext cx="4438837" cy="5523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1088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baseline="0">
                <a:solidFill>
                  <a:schemeClr val="tx1"/>
                </a:solidFill>
                <a:latin typeface="72 Brand Medium" panose="020B0504030603020204" pitchFamily="34" charset="0"/>
                <a:ea typeface="+mj-ea"/>
                <a:cs typeface="72" panose="020B0503030000000003" pitchFamily="34" charset="0"/>
              </a:defRPr>
            </a:lvl1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99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  <a:t>THANK YOU</a:t>
            </a:r>
            <a:endParaRPr kumimoji="0" lang="en-US" sz="2799" b="0" i="0" u="none" strike="noStrike" kern="1200" cap="none" spc="0" normalizeH="0" baseline="0" noProof="0">
              <a:ln>
                <a:noFill/>
              </a:ln>
              <a:solidFill>
                <a:srgbClr val="002A86"/>
              </a:solidFill>
              <a:effectLst/>
              <a:uLnTx/>
              <a:uFillTx/>
              <a:latin typeface="72 Brand" panose="020B0504030603020204" pitchFamily="34" charset="0"/>
              <a:ea typeface="+mj-ea"/>
              <a:cs typeface="72" panose="020B0503030000000003" pitchFamily="34" charset="0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060E91D-3769-DDCC-9069-3C6BC1A84B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 err="1"/>
              <a:t>email@sap.com</a:t>
            </a:r>
            <a:endParaRPr lang="en-SG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A12C7B-9DD9-DEF3-4CD5-8D406181F174}"/>
              </a:ext>
            </a:extLst>
          </p:cNvPr>
          <p:cNvSpPr txBox="1"/>
          <p:nvPr userDrawn="1"/>
        </p:nvSpPr>
        <p:spPr>
          <a:xfrm>
            <a:off x="628946" y="3922002"/>
            <a:ext cx="21382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2A86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Email to: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6049611-9D26-2872-ECFB-5ADC461AC234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651433" y="2818712"/>
            <a:ext cx="4438837" cy="8392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1088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baseline="0">
                <a:solidFill>
                  <a:schemeClr val="tx1"/>
                </a:solidFill>
                <a:latin typeface="72 Brand Medium" panose="020B0504030603020204" pitchFamily="34" charset="0"/>
                <a:ea typeface="+mj-ea"/>
                <a:cs typeface="72" panose="020B0503030000000003" pitchFamily="34" charset="0"/>
              </a:defRPr>
            </a:lvl1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  <a:t>Any Questions?</a:t>
            </a:r>
            <a:br>
              <a: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</a:br>
            <a:r>
              <a: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0270F4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  <a:t>Any Feedback?</a:t>
            </a:r>
            <a:endParaRPr kumimoji="0" lang="en-US" sz="2399" b="0" i="0" u="none" strike="noStrike" kern="1200" cap="none" spc="0" normalizeH="0" baseline="0" noProof="0">
              <a:ln>
                <a:noFill/>
              </a:ln>
              <a:solidFill>
                <a:srgbClr val="0270F4"/>
              </a:solidFill>
              <a:effectLst/>
              <a:uLnTx/>
              <a:uFillTx/>
              <a:latin typeface="72 Brand" panose="020B0504030603020204" pitchFamily="34" charset="0"/>
              <a:ea typeface="+mj-ea"/>
              <a:cs typeface="72" panose="020B0503030000000003" pitchFamily="34" charset="0"/>
            </a:endParaRP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5686B89E-F587-25D9-C875-C24DBA2D1E6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C9C78764-D369-0C27-E83B-D24456DF46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946" y="4824476"/>
            <a:ext cx="2366999" cy="252000"/>
          </a:xfrm>
        </p:spPr>
        <p:txBody>
          <a:bodyPr>
            <a:normAutofit/>
          </a:bodyPr>
          <a:lstStyle>
            <a:lvl1pPr>
              <a:defRPr sz="900" b="0" i="0">
                <a:ln>
                  <a:noFill/>
                </a:ln>
                <a:solidFill>
                  <a:schemeClr val="tx1"/>
                </a:solidFill>
                <a:latin typeface="72 Brand" panose="020B0504030603020204" pitchFamily="34" charset="0"/>
              </a:defRPr>
            </a:lvl1pPr>
          </a:lstStyle>
          <a:p>
            <a:pPr lvl="0"/>
            <a:r>
              <a:rPr lang="en-GB"/>
              <a:t>INTERNAL – SAP and Partners Onl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266DA2-3BA2-213B-076D-AB82C7D78D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07EB6F6-F69A-717D-064D-E6FC97E9BB29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27DFDC-3A12-9BED-42F2-FB031908C6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8B7355-2F12-939B-73A0-FD26D97588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414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95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20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E408057-634A-C833-19A0-BAC146C24D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-1" r="119"/>
          <a:stretch/>
        </p:blipFill>
        <p:spPr>
          <a:xfrm>
            <a:off x="0" y="0"/>
            <a:ext cx="12192000" cy="6867939"/>
          </a:xfrm>
          <a:prstGeom prst="rect">
            <a:avLst/>
          </a:prstGeom>
        </p:spPr>
      </p:pic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88449">
              <a:defRPr/>
            </a:pPr>
            <a:endParaRPr lang="en-US" sz="2099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5" name="LogoBlue-Dynamic" descr="{&quot;templafy&quot;:{&quot;id&quot;:&quot;55793fa0-167a-441b-91c9-fad96368d326&quot;}}">
            <a:extLst>
              <a:ext uri="{FF2B5EF4-FFF2-40B4-BE49-F238E27FC236}">
                <a16:creationId xmlns:a16="http://schemas.microsoft.com/office/drawing/2014/main" id="{88E44B11-CFBC-1282-6018-3469CD21ED5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A9CAA12-4412-A8FD-CCFC-D12349C8A9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46" y="2053480"/>
            <a:ext cx="4177716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D32CE97-C02A-52B4-6C95-B3DAED0EBF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Month 00, 2023</a:t>
            </a:r>
            <a:endParaRPr lang="en-SG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C24F9DE-C318-B81A-9320-90F1A03826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946" y="394063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Name, SAP</a:t>
            </a:r>
            <a:endParaRPr lang="en-SG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F90BD5B-DF98-0E2E-0938-4846D23271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946" y="4824476"/>
            <a:ext cx="2366999" cy="252000"/>
          </a:xfrm>
        </p:spPr>
        <p:txBody>
          <a:bodyPr>
            <a:noAutofit/>
          </a:bodyPr>
          <a:lstStyle>
            <a:lvl1pPr>
              <a:defRPr lang="en-GB" sz="900" b="0" i="0" kern="1200" dirty="0" smtClean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</a:pPr>
            <a:r>
              <a:rPr lang="en-GB"/>
              <a:t>INTERNAL – SAP and Partners Onl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F3FB3C-D6B5-64CA-1EA2-659568B3C6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6072552"/>
            <a:ext cx="551296" cy="5890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D8CC748-8573-6AF5-1052-A05FE5BE5878}"/>
              </a:ext>
            </a:extLst>
          </p:cNvPr>
          <p:cNvSpPr txBox="1"/>
          <p:nvPr userDrawn="1"/>
        </p:nvSpPr>
        <p:spPr>
          <a:xfrm>
            <a:off x="875157" y="6414542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416E5B-E772-6A28-EFAB-7D3C0F4030E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31136" y="6099979"/>
            <a:ext cx="778277" cy="3083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1D8E27D-69D5-4C75-3197-16A1B07677B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79" y="6093448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4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700A0AF-5559-72D4-BB41-09A1DC5047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59" r="59"/>
          <a:stretch/>
        </p:blipFill>
        <p:spPr>
          <a:xfrm>
            <a:off x="0" y="-9938"/>
            <a:ext cx="12192000" cy="6867939"/>
          </a:xfrm>
          <a:prstGeom prst="rect">
            <a:avLst/>
          </a:prstGeom>
        </p:spPr>
      </p:pic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88449">
              <a:defRPr/>
            </a:pPr>
            <a:endParaRPr lang="en-US" sz="2099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5" name="LogoBlue-Dynamic" descr="{&quot;templafy&quot;:{&quot;id&quot;:&quot;55793fa0-167a-441b-91c9-fad96368d326&quot;}}">
            <a:extLst>
              <a:ext uri="{FF2B5EF4-FFF2-40B4-BE49-F238E27FC236}">
                <a16:creationId xmlns:a16="http://schemas.microsoft.com/office/drawing/2014/main" id="{88E44B11-CFBC-1282-6018-3469CD21ED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99E27FFE-C8B6-0245-A235-FB2C420864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46" y="2053480"/>
            <a:ext cx="4177716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C8BAAFD-CE8F-3E74-D3C1-1C28EF33D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Month 00, 2023</a:t>
            </a:r>
            <a:endParaRPr lang="en-SG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6572E6F-D1E3-5C3B-7747-EDDC8F99FD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946" y="394063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Name, SAP</a:t>
            </a:r>
            <a:endParaRPr lang="en-SG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0F02B09-BA04-5315-0468-06D00A9E59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946" y="4824476"/>
            <a:ext cx="2366999" cy="252000"/>
          </a:xfrm>
        </p:spPr>
        <p:txBody>
          <a:bodyPr>
            <a:noAutofit/>
          </a:bodyPr>
          <a:lstStyle>
            <a:lvl1pPr>
              <a:defRPr lang="en-GB" sz="900" b="0" i="0" kern="1200" dirty="0" smtClean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</a:pPr>
            <a:r>
              <a:rPr lang="en-GB"/>
              <a:t>INTERNAL – SAP and Partners Onl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8584369-809E-99A6-F9C4-AA7A0AB770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6072552"/>
            <a:ext cx="551296" cy="58904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06DEA4D-1EFE-EEA7-49AB-6ED4F80B6D9C}"/>
              </a:ext>
            </a:extLst>
          </p:cNvPr>
          <p:cNvSpPr txBox="1"/>
          <p:nvPr userDrawn="1"/>
        </p:nvSpPr>
        <p:spPr>
          <a:xfrm>
            <a:off x="875157" y="6414542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2E50F7D-35E5-0ED7-D631-51A39271E47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1136" y="6099979"/>
            <a:ext cx="778277" cy="30830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FF4CAEF-8E71-20EE-F921-84B76DEF6CE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79" y="6093448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54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59E477C-CE1E-E5DE-5CC1-914569E73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689" y="664757"/>
            <a:ext cx="6716880" cy="38161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BB5D5A8-7A9C-5674-3BA9-0D6D032035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689" y="2188722"/>
            <a:ext cx="4262915" cy="2051520"/>
          </a:xfrm>
        </p:spPr>
        <p:txBody>
          <a:bodyPr>
            <a:noAutofit/>
          </a:bodyPr>
          <a:lstStyle>
            <a:lvl1pPr>
              <a:defRPr sz="3199">
                <a:solidFill>
                  <a:srgbClr val="002A86"/>
                </a:solidFill>
              </a:defRPr>
            </a:lvl1pPr>
          </a:lstStyle>
          <a:p>
            <a:pPr lvl="0"/>
            <a:r>
              <a:rPr lang="en-GB"/>
              <a:t>How.</a:t>
            </a:r>
          </a:p>
          <a:p>
            <a:pPr lvl="0"/>
            <a:r>
              <a:rPr lang="en-GB"/>
              <a:t>What.</a:t>
            </a:r>
          </a:p>
          <a:p>
            <a:pPr lvl="0"/>
            <a:r>
              <a:rPr lang="en-GB"/>
              <a:t>Why.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DF87E6-AA2B-6C46-C0E9-E348FB513B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6072552"/>
            <a:ext cx="551296" cy="58904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B263E35-1974-36CF-2116-2D2DE8CF0EDC}"/>
              </a:ext>
            </a:extLst>
          </p:cNvPr>
          <p:cNvSpPr txBox="1"/>
          <p:nvPr userDrawn="1"/>
        </p:nvSpPr>
        <p:spPr>
          <a:xfrm>
            <a:off x="875157" y="6414542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CE1B80-5FB8-6055-6DAB-0E35027AE50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1136" y="6099979"/>
            <a:ext cx="778277" cy="3083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E156214-104F-A584-B791-3808A362A9B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79" y="6093448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701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5C568A9C-FA52-43B9-99EC-B5F840848588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630024" y="587200"/>
            <a:ext cx="3945017" cy="57794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3600" b="0" i="0" kern="1200" baseline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ea typeface="+mj-ea"/>
                <a:cs typeface="+mj-cs"/>
              </a:defRPr>
            </a:lvl1pPr>
          </a:lstStyle>
          <a:p>
            <a:r>
              <a:rPr lang="en-US" sz="3999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F6AF412-FB24-6CB6-B6AA-476115F94F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06767" y="1389846"/>
            <a:ext cx="4950124" cy="476025"/>
          </a:xfrm>
        </p:spPr>
        <p:txBody>
          <a:bodyPr>
            <a:normAutofit/>
          </a:bodyPr>
          <a:lstStyle>
            <a:lvl1pPr>
              <a:defRPr sz="1999">
                <a:latin typeface="+mj-lt"/>
              </a:defRPr>
            </a:lvl1pPr>
          </a:lstStyle>
          <a:p>
            <a:r>
              <a:rPr lang="en-US" sz="2799">
                <a:solidFill>
                  <a:srgbClr val="002A86"/>
                </a:solidFill>
              </a:rPr>
              <a:t>Title of agenda </a:t>
            </a:r>
            <a:r>
              <a:rPr lang="en-US" sz="2799">
                <a:solidFill>
                  <a:srgbClr val="0270F4"/>
                </a:solidFill>
              </a:rPr>
              <a:t>on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4CF60A1-A805-803F-CBEE-12E3E46C6F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06767" y="3907609"/>
            <a:ext cx="4950124" cy="476026"/>
          </a:xfrm>
        </p:spPr>
        <p:txBody>
          <a:bodyPr>
            <a:normAutofit/>
          </a:bodyPr>
          <a:lstStyle>
            <a:lvl1pPr>
              <a:defRPr sz="1999">
                <a:solidFill>
                  <a:srgbClr val="0270F4"/>
                </a:solidFill>
                <a:latin typeface="+mj-lt"/>
              </a:defRPr>
            </a:lvl1pPr>
          </a:lstStyle>
          <a:p>
            <a:r>
              <a:rPr lang="en-US" sz="2799">
                <a:solidFill>
                  <a:srgbClr val="002A86"/>
                </a:solidFill>
              </a:rPr>
              <a:t>Title of agenda </a:t>
            </a:r>
            <a:r>
              <a:rPr lang="en-US" sz="2799">
                <a:solidFill>
                  <a:srgbClr val="0270F4"/>
                </a:solidFill>
              </a:rPr>
              <a:t>two</a:t>
            </a: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F8A02F93-1B89-1B05-4FA9-A4F748CB5C8C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9AEDB127-8FFE-FEF0-265D-A01C544C3A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07110" y="1931988"/>
            <a:ext cx="4950124" cy="1549400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8B457D78-F094-C57B-7F71-98B583540C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07110" y="4453807"/>
            <a:ext cx="4950124" cy="1549400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9262E0-293E-4181-A867-9E58D624AB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78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91500B52-224F-8503-AD35-EE0F8545D4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118C5F00-3FB3-63BA-F79E-A7B05E085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298" y="2762756"/>
            <a:ext cx="3851705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034E1B70-FF32-519A-048A-E41DC43DC49F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353A7D-EB61-87B3-6FCA-1D1B52C136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109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3AC9102B-CEF5-104E-5EA0-FA67DCA1D9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04F3375-5DDB-5317-0BCF-9EC992A3FC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302" y="2762756"/>
            <a:ext cx="2979154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0817DC30-6D5B-9A0C-BC1C-D811305A3033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892E379-F573-8776-EF56-5A5630EA15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335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3AC9102B-CEF5-104E-5EA0-FA67DCA1D9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04F3375-5DDB-5317-0BCF-9EC992A3FC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302" y="2762756"/>
            <a:ext cx="2979154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0817DC30-6D5B-9A0C-BC1C-D811305A3033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D15F51-4D2C-8778-1344-2658C01FB1A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036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0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5.xml"/><Relationship Id="rId63" Type="http://schemas.openxmlformats.org/officeDocument/2006/relationships/tags" Target="../tags/tag36.xml"/><Relationship Id="rId84" Type="http://schemas.openxmlformats.org/officeDocument/2006/relationships/tags" Target="../tags/tag57.xml"/><Relationship Id="rId138" Type="http://schemas.openxmlformats.org/officeDocument/2006/relationships/tags" Target="../tags/tag111.xml"/><Relationship Id="rId107" Type="http://schemas.openxmlformats.org/officeDocument/2006/relationships/tags" Target="../tags/tag80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5.xml"/><Relationship Id="rId53" Type="http://schemas.openxmlformats.org/officeDocument/2006/relationships/tags" Target="../tags/tag26.xml"/><Relationship Id="rId74" Type="http://schemas.openxmlformats.org/officeDocument/2006/relationships/tags" Target="../tags/tag47.xml"/><Relationship Id="rId128" Type="http://schemas.openxmlformats.org/officeDocument/2006/relationships/tags" Target="../tags/tag101.xml"/><Relationship Id="rId149" Type="http://schemas.openxmlformats.org/officeDocument/2006/relationships/tags" Target="../tags/tag122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8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6.xml"/><Relationship Id="rId64" Type="http://schemas.openxmlformats.org/officeDocument/2006/relationships/tags" Target="../tags/tag37.xml"/><Relationship Id="rId118" Type="http://schemas.openxmlformats.org/officeDocument/2006/relationships/tags" Target="../tags/tag91.xml"/><Relationship Id="rId139" Type="http://schemas.openxmlformats.org/officeDocument/2006/relationships/tags" Target="../tags/tag112.xml"/><Relationship Id="rId80" Type="http://schemas.openxmlformats.org/officeDocument/2006/relationships/tags" Target="../tags/tag53.xml"/><Relationship Id="rId85" Type="http://schemas.openxmlformats.org/officeDocument/2006/relationships/tags" Target="../tags/tag58.xml"/><Relationship Id="rId150" Type="http://schemas.openxmlformats.org/officeDocument/2006/relationships/tags" Target="../tags/tag123.xml"/><Relationship Id="rId155" Type="http://schemas.microsoft.com/office/2007/relationships/hdphoto" Target="../media/hdphoto1.wdp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6.xml"/><Relationship Id="rId38" Type="http://schemas.openxmlformats.org/officeDocument/2006/relationships/tags" Target="../tags/tag11.xml"/><Relationship Id="rId59" Type="http://schemas.openxmlformats.org/officeDocument/2006/relationships/tags" Target="../tags/tag32.xml"/><Relationship Id="rId103" Type="http://schemas.openxmlformats.org/officeDocument/2006/relationships/tags" Target="../tags/tag76.xml"/><Relationship Id="rId108" Type="http://schemas.openxmlformats.org/officeDocument/2006/relationships/tags" Target="../tags/tag81.xml"/><Relationship Id="rId124" Type="http://schemas.openxmlformats.org/officeDocument/2006/relationships/tags" Target="../tags/tag97.xml"/><Relationship Id="rId129" Type="http://schemas.openxmlformats.org/officeDocument/2006/relationships/tags" Target="../tags/tag102.xml"/><Relationship Id="rId54" Type="http://schemas.openxmlformats.org/officeDocument/2006/relationships/tags" Target="../tags/tag27.xml"/><Relationship Id="rId70" Type="http://schemas.openxmlformats.org/officeDocument/2006/relationships/tags" Target="../tags/tag43.xml"/><Relationship Id="rId75" Type="http://schemas.openxmlformats.org/officeDocument/2006/relationships/tags" Target="../tags/tag48.xml"/><Relationship Id="rId91" Type="http://schemas.openxmlformats.org/officeDocument/2006/relationships/tags" Target="../tags/tag64.xml"/><Relationship Id="rId96" Type="http://schemas.openxmlformats.org/officeDocument/2006/relationships/tags" Target="../tags/tag69.xml"/><Relationship Id="rId140" Type="http://schemas.openxmlformats.org/officeDocument/2006/relationships/tags" Target="../tags/tag113.xml"/><Relationship Id="rId145" Type="http://schemas.openxmlformats.org/officeDocument/2006/relationships/tags" Target="../tags/tag1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49" Type="http://schemas.openxmlformats.org/officeDocument/2006/relationships/tags" Target="../tags/tag22.xml"/><Relationship Id="rId114" Type="http://schemas.openxmlformats.org/officeDocument/2006/relationships/tags" Target="../tags/tag87.xml"/><Relationship Id="rId119" Type="http://schemas.openxmlformats.org/officeDocument/2006/relationships/tags" Target="../tags/tag92.xml"/><Relationship Id="rId44" Type="http://schemas.openxmlformats.org/officeDocument/2006/relationships/tags" Target="../tags/tag17.xml"/><Relationship Id="rId60" Type="http://schemas.openxmlformats.org/officeDocument/2006/relationships/tags" Target="../tags/tag33.xml"/><Relationship Id="rId65" Type="http://schemas.openxmlformats.org/officeDocument/2006/relationships/tags" Target="../tags/tag38.xml"/><Relationship Id="rId81" Type="http://schemas.openxmlformats.org/officeDocument/2006/relationships/tags" Target="../tags/tag54.xml"/><Relationship Id="rId86" Type="http://schemas.openxmlformats.org/officeDocument/2006/relationships/tags" Target="../tags/tag59.xml"/><Relationship Id="rId130" Type="http://schemas.openxmlformats.org/officeDocument/2006/relationships/tags" Target="../tags/tag103.xml"/><Relationship Id="rId135" Type="http://schemas.openxmlformats.org/officeDocument/2006/relationships/tags" Target="../tags/tag108.xml"/><Relationship Id="rId151" Type="http://schemas.openxmlformats.org/officeDocument/2006/relationships/tags" Target="../tags/tag124.xml"/><Relationship Id="rId156" Type="http://schemas.openxmlformats.org/officeDocument/2006/relationships/image" Target="../media/image3.png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2.xml"/><Relationship Id="rId109" Type="http://schemas.openxmlformats.org/officeDocument/2006/relationships/tags" Target="../tags/tag82.xml"/><Relationship Id="rId34" Type="http://schemas.openxmlformats.org/officeDocument/2006/relationships/tags" Target="../tags/tag7.xml"/><Relationship Id="rId50" Type="http://schemas.openxmlformats.org/officeDocument/2006/relationships/tags" Target="../tags/tag23.xml"/><Relationship Id="rId55" Type="http://schemas.openxmlformats.org/officeDocument/2006/relationships/tags" Target="../tags/tag28.xml"/><Relationship Id="rId76" Type="http://schemas.openxmlformats.org/officeDocument/2006/relationships/tags" Target="../tags/tag49.xml"/><Relationship Id="rId97" Type="http://schemas.openxmlformats.org/officeDocument/2006/relationships/tags" Target="../tags/tag70.xml"/><Relationship Id="rId104" Type="http://schemas.openxmlformats.org/officeDocument/2006/relationships/tags" Target="../tags/tag77.xml"/><Relationship Id="rId120" Type="http://schemas.openxmlformats.org/officeDocument/2006/relationships/tags" Target="../tags/tag93.xml"/><Relationship Id="rId125" Type="http://schemas.openxmlformats.org/officeDocument/2006/relationships/tags" Target="../tags/tag98.xml"/><Relationship Id="rId141" Type="http://schemas.openxmlformats.org/officeDocument/2006/relationships/tags" Target="../tags/tag114.xml"/><Relationship Id="rId146" Type="http://schemas.openxmlformats.org/officeDocument/2006/relationships/tags" Target="../tags/tag11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4.xml"/><Relationship Id="rId92" Type="http://schemas.openxmlformats.org/officeDocument/2006/relationships/tags" Target="../tags/tag65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2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13.xml"/><Relationship Id="rId45" Type="http://schemas.openxmlformats.org/officeDocument/2006/relationships/tags" Target="../tags/tag18.xml"/><Relationship Id="rId66" Type="http://schemas.openxmlformats.org/officeDocument/2006/relationships/tags" Target="../tags/tag39.xml"/><Relationship Id="rId87" Type="http://schemas.openxmlformats.org/officeDocument/2006/relationships/tags" Target="../tags/tag60.xml"/><Relationship Id="rId110" Type="http://schemas.openxmlformats.org/officeDocument/2006/relationships/tags" Target="../tags/tag83.xml"/><Relationship Id="rId115" Type="http://schemas.openxmlformats.org/officeDocument/2006/relationships/tags" Target="../tags/tag88.xml"/><Relationship Id="rId131" Type="http://schemas.openxmlformats.org/officeDocument/2006/relationships/tags" Target="../tags/tag104.xml"/><Relationship Id="rId136" Type="http://schemas.openxmlformats.org/officeDocument/2006/relationships/tags" Target="../tags/tag109.xml"/><Relationship Id="rId157" Type="http://schemas.openxmlformats.org/officeDocument/2006/relationships/image" Target="../media/image4.emf"/><Relationship Id="rId61" Type="http://schemas.openxmlformats.org/officeDocument/2006/relationships/tags" Target="../tags/tag34.xml"/><Relationship Id="rId82" Type="http://schemas.openxmlformats.org/officeDocument/2006/relationships/tags" Target="../tags/tag55.xml"/><Relationship Id="rId152" Type="http://schemas.openxmlformats.org/officeDocument/2006/relationships/oleObject" Target="../embeddings/oleObject1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3.xml"/><Relationship Id="rId35" Type="http://schemas.openxmlformats.org/officeDocument/2006/relationships/tags" Target="../tags/tag8.xml"/><Relationship Id="rId56" Type="http://schemas.openxmlformats.org/officeDocument/2006/relationships/tags" Target="../tags/tag29.xml"/><Relationship Id="rId77" Type="http://schemas.openxmlformats.org/officeDocument/2006/relationships/tags" Target="../tags/tag50.xml"/><Relationship Id="rId100" Type="http://schemas.openxmlformats.org/officeDocument/2006/relationships/tags" Target="../tags/tag73.xml"/><Relationship Id="rId105" Type="http://schemas.openxmlformats.org/officeDocument/2006/relationships/tags" Target="../tags/tag78.xml"/><Relationship Id="rId126" Type="http://schemas.openxmlformats.org/officeDocument/2006/relationships/tags" Target="../tags/tag99.xml"/><Relationship Id="rId147" Type="http://schemas.openxmlformats.org/officeDocument/2006/relationships/tags" Target="../tags/tag12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4.xml"/><Relationship Id="rId72" Type="http://schemas.openxmlformats.org/officeDocument/2006/relationships/tags" Target="../tags/tag45.xml"/><Relationship Id="rId93" Type="http://schemas.openxmlformats.org/officeDocument/2006/relationships/tags" Target="../tags/tag66.xml"/><Relationship Id="rId98" Type="http://schemas.openxmlformats.org/officeDocument/2006/relationships/tags" Target="../tags/tag71.xml"/><Relationship Id="rId121" Type="http://schemas.openxmlformats.org/officeDocument/2006/relationships/tags" Target="../tags/tag94.xml"/><Relationship Id="rId142" Type="http://schemas.openxmlformats.org/officeDocument/2006/relationships/tags" Target="../tags/tag115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9.xml"/><Relationship Id="rId67" Type="http://schemas.openxmlformats.org/officeDocument/2006/relationships/tags" Target="../tags/tag40.xml"/><Relationship Id="rId116" Type="http://schemas.openxmlformats.org/officeDocument/2006/relationships/tags" Target="../tags/tag89.xml"/><Relationship Id="rId137" Type="http://schemas.openxmlformats.org/officeDocument/2006/relationships/tags" Target="../tags/tag110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4.xml"/><Relationship Id="rId62" Type="http://schemas.openxmlformats.org/officeDocument/2006/relationships/tags" Target="../tags/tag35.xml"/><Relationship Id="rId83" Type="http://schemas.openxmlformats.org/officeDocument/2006/relationships/tags" Target="../tags/tag56.xml"/><Relationship Id="rId88" Type="http://schemas.openxmlformats.org/officeDocument/2006/relationships/tags" Target="../tags/tag61.xml"/><Relationship Id="rId111" Type="http://schemas.openxmlformats.org/officeDocument/2006/relationships/tags" Target="../tags/tag84.xml"/><Relationship Id="rId132" Type="http://schemas.openxmlformats.org/officeDocument/2006/relationships/tags" Target="../tags/tag105.xml"/><Relationship Id="rId153" Type="http://schemas.openxmlformats.org/officeDocument/2006/relationships/image" Target="../media/image1.emf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9.xml"/><Relationship Id="rId57" Type="http://schemas.openxmlformats.org/officeDocument/2006/relationships/tags" Target="../tags/tag30.xml"/><Relationship Id="rId106" Type="http://schemas.openxmlformats.org/officeDocument/2006/relationships/tags" Target="../tags/tag79.xml"/><Relationship Id="rId127" Type="http://schemas.openxmlformats.org/officeDocument/2006/relationships/tags" Target="../tags/tag10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4.xml"/><Relationship Id="rId52" Type="http://schemas.openxmlformats.org/officeDocument/2006/relationships/tags" Target="../tags/tag25.xml"/><Relationship Id="rId73" Type="http://schemas.openxmlformats.org/officeDocument/2006/relationships/tags" Target="../tags/tag46.xml"/><Relationship Id="rId78" Type="http://schemas.openxmlformats.org/officeDocument/2006/relationships/tags" Target="../tags/tag51.xml"/><Relationship Id="rId94" Type="http://schemas.openxmlformats.org/officeDocument/2006/relationships/tags" Target="../tags/tag67.xml"/><Relationship Id="rId99" Type="http://schemas.openxmlformats.org/officeDocument/2006/relationships/tags" Target="../tags/tag72.xml"/><Relationship Id="rId101" Type="http://schemas.openxmlformats.org/officeDocument/2006/relationships/tags" Target="../tags/tag74.xml"/><Relationship Id="rId122" Type="http://schemas.openxmlformats.org/officeDocument/2006/relationships/tags" Target="../tags/tag95.xml"/><Relationship Id="rId143" Type="http://schemas.openxmlformats.org/officeDocument/2006/relationships/tags" Target="../tags/tag116.xml"/><Relationship Id="rId148" Type="http://schemas.openxmlformats.org/officeDocument/2006/relationships/tags" Target="../tags/tag12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20.xml"/><Relationship Id="rId68" Type="http://schemas.openxmlformats.org/officeDocument/2006/relationships/tags" Target="../tags/tag41.xml"/><Relationship Id="rId89" Type="http://schemas.openxmlformats.org/officeDocument/2006/relationships/tags" Target="../tags/tag62.xml"/><Relationship Id="rId112" Type="http://schemas.openxmlformats.org/officeDocument/2006/relationships/tags" Target="../tags/tag85.xml"/><Relationship Id="rId133" Type="http://schemas.openxmlformats.org/officeDocument/2006/relationships/tags" Target="../tags/tag106.xml"/><Relationship Id="rId154" Type="http://schemas.openxmlformats.org/officeDocument/2006/relationships/image" Target="../media/image2.png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10.xml"/><Relationship Id="rId58" Type="http://schemas.openxmlformats.org/officeDocument/2006/relationships/tags" Target="../tags/tag31.xml"/><Relationship Id="rId79" Type="http://schemas.openxmlformats.org/officeDocument/2006/relationships/tags" Target="../tags/tag52.xml"/><Relationship Id="rId102" Type="http://schemas.openxmlformats.org/officeDocument/2006/relationships/tags" Target="../tags/tag75.xml"/><Relationship Id="rId123" Type="http://schemas.openxmlformats.org/officeDocument/2006/relationships/tags" Target="../tags/tag96.xml"/><Relationship Id="rId144" Type="http://schemas.openxmlformats.org/officeDocument/2006/relationships/tags" Target="../tags/tag117.xml"/><Relationship Id="rId90" Type="http://schemas.openxmlformats.org/officeDocument/2006/relationships/tags" Target="../tags/tag63.xml"/><Relationship Id="rId27" Type="http://schemas.openxmlformats.org/officeDocument/2006/relationships/theme" Target="../theme/theme1.xml"/><Relationship Id="rId48" Type="http://schemas.openxmlformats.org/officeDocument/2006/relationships/tags" Target="../tags/tag21.xml"/><Relationship Id="rId69" Type="http://schemas.openxmlformats.org/officeDocument/2006/relationships/tags" Target="../tags/tag42.xml"/><Relationship Id="rId113" Type="http://schemas.openxmlformats.org/officeDocument/2006/relationships/tags" Target="../tags/tag86.xml"/><Relationship Id="rId134" Type="http://schemas.openxmlformats.org/officeDocument/2006/relationships/tags" Target="../tags/tag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think-cell data - do not delete" hidden="1">
            <a:extLst>
              <a:ext uri="{FF2B5EF4-FFF2-40B4-BE49-F238E27FC236}">
                <a16:creationId xmlns:a16="http://schemas.microsoft.com/office/drawing/2014/main" id="{4506DB78-713F-98F4-E7E7-CE6D03E24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2616918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2" imgW="7772400" imgH="10058400" progId="TCLayout.ActiveDocument.1">
                  <p:embed/>
                </p:oleObj>
              </mc:Choice>
              <mc:Fallback>
                <p:oleObj name="think-cell Slide" r:id="rId152" imgW="7772400" imgH="10058400" progId="TCLayout.ActiveDocument.1">
                  <p:embed/>
                  <p:pic>
                    <p:nvPicPr>
                      <p:cNvPr id="1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06DB78-713F-98F4-E7E7-CE6D03E24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624688" y="1659118"/>
            <a:ext cx="10995535" cy="4626515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624688" y="572367"/>
            <a:ext cx="10995535" cy="5291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9"/>
            </p:custDataLst>
          </p:nvPr>
        </p:nvGrpSpPr>
        <p:grpSpPr>
          <a:xfrm>
            <a:off x="3937773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0"/>
            </p:custDataLst>
          </p:nvPr>
        </p:nvGrpSpPr>
        <p:grpSpPr>
          <a:xfrm>
            <a:off x="539010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1"/>
            </p:custDataLst>
          </p:nvPr>
        </p:nvGrpSpPr>
        <p:grpSpPr>
          <a:xfrm>
            <a:off x="684243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2"/>
            </p:custDataLst>
          </p:nvPr>
        </p:nvGrpSpPr>
        <p:grpSpPr>
          <a:xfrm>
            <a:off x="8294762" y="3978000"/>
            <a:ext cx="1024611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107" y="5984669"/>
            <a:ext cx="101855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68483" y="896932"/>
            <a:ext cx="2123517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ponsible: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ame </a:t>
            </a:r>
            <a:r>
              <a:rPr kumimoji="0" lang="en-US" sz="1395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stname</a:t>
            </a:r>
            <a:endParaRPr kumimoji="0" lang="en-US" sz="139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0875" y="1097679"/>
            <a:ext cx="2478456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0875" y="1097671"/>
            <a:ext cx="2478456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5884" y="2819463"/>
            <a:ext cx="6360233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F18FB5C-4210-6D83-5AE5-2DB915F3DD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2242" y="6465188"/>
            <a:ext cx="372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002A86"/>
                </a:solidFill>
              </a:defRPr>
            </a:lvl1pPr>
          </a:lstStyle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pyright Placeholder" descr="{&quot;templafy&quot;:{&quot;id&quot;:&quot;a74eddeb-ce90-4f01-99b3-d929310ab967&quot;}}">
            <a:extLst>
              <a:ext uri="{FF2B5EF4-FFF2-40B4-BE49-F238E27FC236}">
                <a16:creationId xmlns:a16="http://schemas.microsoft.com/office/drawing/2014/main" id="{6473A8DC-7FE6-8134-3DC9-0F9B18CDF634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72 Brand" panose="020B0504030603020204" pitchFamily="34" charset="0"/>
              </a:rPr>
              <a:t>INTERNAL – SAP and Partners Onl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678FFA8-1BE8-F080-080F-72042817B8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4">
            <a:extLst>
              <a:ext uri="{BEBA8EAE-BF5A-486C-A8C5-ECC9F3942E4B}">
                <a14:imgProps xmlns:a14="http://schemas.microsoft.com/office/drawing/2010/main">
                  <a14:imgLayer r:embed="rId15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854837"/>
            <a:ext cx="551296" cy="58904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B41A4EA5-748D-81F9-0FFD-99C8B0217ED4}"/>
              </a:ext>
            </a:extLst>
          </p:cNvPr>
          <p:cNvSpPr txBox="1"/>
          <p:nvPr userDrawn="1"/>
        </p:nvSpPr>
        <p:spPr>
          <a:xfrm>
            <a:off x="875157" y="6196827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963C634E-0C9E-63E4-2197-311D54D44078}"/>
              </a:ext>
            </a:extLst>
          </p:cNvPr>
          <p:cNvPicPr>
            <a:picLocks noChangeAspect="1"/>
          </p:cNvPicPr>
          <p:nvPr userDrawn="1"/>
        </p:nvPicPr>
        <p:blipFill>
          <a:blip r:embed="rId156"/>
          <a:stretch>
            <a:fillRect/>
          </a:stretch>
        </p:blipFill>
        <p:spPr>
          <a:xfrm>
            <a:off x="831136" y="5882264"/>
            <a:ext cx="778277" cy="308309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BD663E04-5E6A-B418-F413-D0C7044EDBDF}"/>
              </a:ext>
            </a:extLst>
          </p:cNvPr>
          <p:cNvPicPr>
            <a:picLocks noChangeAspect="1"/>
          </p:cNvPicPr>
          <p:nvPr userDrawn="1"/>
        </p:nvPicPr>
        <p:blipFill>
          <a:blip r:embed="rId157"/>
          <a:stretch>
            <a:fillRect/>
          </a:stretch>
        </p:blipFill>
        <p:spPr>
          <a:xfrm>
            <a:off x="292879" y="5875733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992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1999" b="0" i="0" kern="1200" baseline="0">
          <a:ln>
            <a:noFill/>
          </a:ln>
          <a:solidFill>
            <a:srgbClr val="002A86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>
          <a:schemeClr val="accent1"/>
        </a:buClr>
        <a:buSzPct val="80000"/>
        <a:buFontTx/>
        <a:buNone/>
        <a:defRPr sz="1999" b="0" i="0" kern="1200">
          <a:ln>
            <a:noFill/>
          </a:ln>
          <a:solidFill>
            <a:srgbClr val="002A86"/>
          </a:solidFill>
          <a:latin typeface="+mj-lt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rgbClr val="0270F4"/>
        </a:buClr>
        <a:buSzPct val="100000"/>
        <a:buFont typeface="Arial" panose="020B0604020202020204" pitchFamily="34" charset="0"/>
        <a:buChar char="•"/>
        <a:defRPr sz="1799" b="0" i="0" kern="1200">
          <a:ln>
            <a:noFill/>
          </a:ln>
          <a:solidFill>
            <a:srgbClr val="002A86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rgbClr val="0270F4"/>
        </a:buClr>
        <a:buSzPct val="100000"/>
        <a:buFont typeface="Arial" panose="020B0604020202020204" pitchFamily="34" charset="0"/>
        <a:buChar char="•"/>
        <a:defRPr lang="en-US" sz="1600" b="0" i="0" kern="1200" noProof="0" dirty="0" smtClean="0">
          <a:ln>
            <a:noFill/>
          </a:ln>
          <a:solidFill>
            <a:srgbClr val="002A86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rgbClr val="0270F4"/>
        </a:buClr>
        <a:buSzPct val="80000"/>
        <a:buFont typeface="Arial" panose="020B0604020202020204" pitchFamily="34" charset="0"/>
        <a:buChar char="•"/>
        <a:defRPr sz="1400" b="0" i="0" kern="1200">
          <a:ln>
            <a:noFill/>
          </a:ln>
          <a:solidFill>
            <a:srgbClr val="002A86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rgbClr val="0270F4"/>
        </a:buClr>
        <a:buSzPct val="100000"/>
        <a:buFont typeface="Arial" panose="020B0604020202020204" pitchFamily="34" charset="0"/>
        <a:buChar char="•"/>
        <a:defRPr sz="1200" b="0" i="0" kern="1200" baseline="0">
          <a:ln>
            <a:noFill/>
          </a:ln>
          <a:solidFill>
            <a:srgbClr val="002A86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303">
          <p15:clr>
            <a:srgbClr val="F26B43"/>
          </p15:clr>
        </p15:guide>
        <p15:guide id="3" pos="7379">
          <p15:clr>
            <a:srgbClr val="F26B43"/>
          </p15:clr>
        </p15:guide>
        <p15:guide id="4" orient="horz" pos="3997">
          <p15:clr>
            <a:srgbClr val="F26B43"/>
          </p15:clr>
        </p15:guide>
        <p15:guide id="6" orient="horz" pos="777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02BFFA8D-50FB-3FE4-65FD-264585BC8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_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73BBDFF-C629-DDC2-3E04-B9771DD4BD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D44268D-C72B-9ABE-4C1D-2FACF63C6D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AT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35DC818-B838-2C97-B839-9B572ED53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ESPONSIBLE</a:t>
            </a:r>
          </a:p>
        </p:txBody>
      </p:sp>
    </p:spTree>
    <p:extLst>
      <p:ext uri="{BB962C8B-B14F-4D97-AF65-F5344CB8AC3E}">
        <p14:creationId xmlns:p14="http://schemas.microsoft.com/office/powerpoint/2010/main" val="3234612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8B327D7-3DDB-BC47-43BD-3C54A0967F58}"/>
              </a:ext>
            </a:extLst>
          </p:cNvPr>
          <p:cNvGrpSpPr/>
          <p:nvPr/>
        </p:nvGrpSpPr>
        <p:grpSpPr>
          <a:xfrm>
            <a:off x="1095985" y="1734989"/>
            <a:ext cx="8980111" cy="615393"/>
            <a:chOff x="1096270" y="1734547"/>
            <a:chExt cx="8982450" cy="61555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67FC1A7-680E-1121-2C86-A2A672176B9A}"/>
                </a:ext>
              </a:extLst>
            </p:cNvPr>
            <p:cNvSpPr txBox="1"/>
            <p:nvPr/>
          </p:nvSpPr>
          <p:spPr>
            <a:xfrm>
              <a:off x="1096270" y="1796102"/>
              <a:ext cx="548640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3199" b="1" kern="0" dirty="0">
                  <a:solidFill>
                    <a:srgbClr val="0070F2"/>
                  </a:solidFill>
                  <a:latin typeface="72 Brand Black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D254449-F579-E4D7-86AA-8BF7ECEF15BD}"/>
                </a:ext>
              </a:extLst>
            </p:cNvPr>
            <p:cNvSpPr txBox="1"/>
            <p:nvPr/>
          </p:nvSpPr>
          <p:spPr>
            <a:xfrm>
              <a:off x="1637874" y="1734547"/>
              <a:ext cx="844084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88449">
                <a:defRPr/>
              </a:pPr>
              <a:r>
                <a:rPr lang="en-US" sz="2399" b="1" dirty="0">
                  <a:solidFill>
                    <a:srgbClr val="000000"/>
                  </a:solidFill>
                  <a:latin typeface="72 Brand" panose="020B0504030603020204" pitchFamily="34" charset="0"/>
                </a:rPr>
                <a:t>PROJECT_STATUS_REPORT</a:t>
              </a:r>
            </a:p>
            <a:p>
              <a:pPr defTabSz="1088449">
                <a:defRPr/>
              </a:pPr>
              <a:r>
                <a:rPr lang="en-US" sz="1600" b="1" dirty="0">
                  <a:solidFill>
                    <a:srgbClr val="0057D2"/>
                  </a:solidFill>
                  <a:latin typeface="72 Brand" panose="020B0504030603020204" pitchFamily="34" charset="0"/>
                  <a:cs typeface="72" panose="020B0503030000000003" pitchFamily="34" charset="0"/>
                </a:rPr>
                <a:t>RESPONSIBLE</a:t>
              </a:r>
              <a:endParaRPr lang="en-US" sz="1600" dirty="0">
                <a:solidFill>
                  <a:srgbClr val="0057D2"/>
                </a:solidFill>
                <a:latin typeface="72 Brand" panose="020B0504030603020204" pitchFamily="34" charset="0"/>
                <a:cs typeface="72" panose="020B0503030000000003" pitchFamily="34" charset="0"/>
              </a:endParaRPr>
            </a:p>
          </p:txBody>
        </p:sp>
      </p:grpSp>
      <p:sp>
        <p:nvSpPr>
          <p:cNvPr id="36" name="Title 3">
            <a:extLst>
              <a:ext uri="{FF2B5EF4-FFF2-40B4-BE49-F238E27FC236}">
                <a16:creationId xmlns:a16="http://schemas.microsoft.com/office/drawing/2014/main" id="{E5BA8880-5662-F743-E8AB-47DBA21E8A23}"/>
              </a:ext>
            </a:extLst>
          </p:cNvPr>
          <p:cNvSpPr txBox="1">
            <a:spLocks/>
          </p:cNvSpPr>
          <p:nvPr/>
        </p:nvSpPr>
        <p:spPr>
          <a:xfrm>
            <a:off x="604596" y="585952"/>
            <a:ext cx="5491404" cy="459445"/>
          </a:xfrm>
          <a:prstGeom prst="rect">
            <a:avLst/>
          </a:prstGeom>
        </p:spPr>
        <p:txBody>
          <a:bodyPr/>
          <a:lstStyle>
            <a:lvl1pPr algn="l" defTabSz="1088558" rtl="0" eaLnBrk="1" latinLnBrk="0" hangingPunct="1">
              <a:spcBef>
                <a:spcPct val="0"/>
              </a:spcBef>
              <a:buNone/>
              <a:defRPr sz="2000" b="0" i="0" kern="1200" baseline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ea typeface="+mj-ea"/>
                <a:cs typeface="+mj-cs"/>
              </a:defRPr>
            </a:lvl1pPr>
          </a:lstStyle>
          <a:p>
            <a:pPr defTabSz="1088231">
              <a:defRPr/>
            </a:pPr>
            <a:r>
              <a:rPr lang="en-US" sz="1999" dirty="0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65EB30-90F7-EBC0-6C22-C2C9405237B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2889" t="18711" b="14700"/>
          <a:stretch>
            <a:fillRect/>
          </a:stretch>
        </p:blipFill>
        <p:spPr>
          <a:xfrm>
            <a:off x="10278580" y="2741320"/>
            <a:ext cx="1913421" cy="972288"/>
          </a:xfrm>
          <a:custGeom>
            <a:avLst/>
            <a:gdLst>
              <a:gd name="connsiteX0" fmla="*/ 0 w 1913919"/>
              <a:gd name="connsiteY0" fmla="*/ 0 h 972541"/>
              <a:gd name="connsiteX1" fmla="*/ 1913919 w 1913919"/>
              <a:gd name="connsiteY1" fmla="*/ 5216 h 972541"/>
              <a:gd name="connsiteX2" fmla="*/ 1913919 w 1913919"/>
              <a:gd name="connsiteY2" fmla="*/ 30883 h 972541"/>
              <a:gd name="connsiteX3" fmla="*/ 967256 w 1913919"/>
              <a:gd name="connsiteY3" fmla="*/ 967256 h 972541"/>
              <a:gd name="connsiteX4" fmla="*/ 0 w 1913919"/>
              <a:gd name="connsiteY4" fmla="*/ 972541 h 97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3919" h="972541">
                <a:moveTo>
                  <a:pt x="0" y="0"/>
                </a:moveTo>
                <a:lnTo>
                  <a:pt x="1913919" y="5216"/>
                </a:lnTo>
                <a:lnTo>
                  <a:pt x="1913919" y="30883"/>
                </a:lnTo>
                <a:lnTo>
                  <a:pt x="967256" y="967256"/>
                </a:lnTo>
                <a:lnTo>
                  <a:pt x="0" y="972541"/>
                </a:lnTo>
                <a:close/>
              </a:path>
            </a:pathLst>
          </a:cu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F6D05FE-5947-BDCD-71EA-1AAD8B58B241}"/>
              </a:ext>
            </a:extLst>
          </p:cNvPr>
          <p:cNvGrpSpPr/>
          <p:nvPr/>
        </p:nvGrpSpPr>
        <p:grpSpPr>
          <a:xfrm>
            <a:off x="1095985" y="2904061"/>
            <a:ext cx="8980111" cy="615393"/>
            <a:chOff x="1096270" y="1734547"/>
            <a:chExt cx="8982450" cy="6155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DFDD25A-73D7-C7C3-D300-59C7C137C913}"/>
                </a:ext>
              </a:extLst>
            </p:cNvPr>
            <p:cNvSpPr txBox="1"/>
            <p:nvPr/>
          </p:nvSpPr>
          <p:spPr>
            <a:xfrm>
              <a:off x="1096270" y="1796102"/>
              <a:ext cx="548640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3199" b="1" kern="0" dirty="0">
                  <a:solidFill>
                    <a:srgbClr val="0070F2"/>
                  </a:solidFill>
                  <a:latin typeface="72 Brand Black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2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9774CAE-1E22-61A8-B27B-BB5422825791}"/>
                </a:ext>
              </a:extLst>
            </p:cNvPr>
            <p:cNvSpPr txBox="1"/>
            <p:nvPr/>
          </p:nvSpPr>
          <p:spPr>
            <a:xfrm>
              <a:off x="1637874" y="1734547"/>
              <a:ext cx="844084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88449">
                <a:defRPr/>
              </a:pPr>
              <a:r>
                <a:rPr lang="en-US" sz="2399" b="1" dirty="0">
                  <a:solidFill>
                    <a:srgbClr val="000000"/>
                  </a:solidFill>
                  <a:latin typeface="72 Brand" panose="020B0504030603020204" pitchFamily="34" charset="0"/>
                </a:rPr>
                <a:t>PROJECT_DECISIONS</a:t>
              </a:r>
              <a:endParaRPr lang="en-US" sz="2399" dirty="0">
                <a:solidFill>
                  <a:srgbClr val="000000"/>
                </a:solidFill>
                <a:latin typeface="72 Brand" panose="020B0504030603020204" pitchFamily="34" charset="0"/>
              </a:endParaRPr>
            </a:p>
            <a:p>
              <a:pPr defTabSz="1088449">
                <a:defRPr/>
              </a:pPr>
              <a:r>
                <a:rPr lang="en-US" sz="1600" b="1" dirty="0">
                  <a:solidFill>
                    <a:srgbClr val="0057D2"/>
                  </a:solidFill>
                  <a:latin typeface="72 Brand" panose="020B0504030603020204" pitchFamily="34" charset="0"/>
                  <a:cs typeface="72" panose="020B0503030000000003" pitchFamily="34" charset="0"/>
                </a:rPr>
                <a:t>ACCOUNTABLE</a:t>
              </a:r>
              <a:endParaRPr lang="en-US" sz="1600" dirty="0">
                <a:solidFill>
                  <a:srgbClr val="0057D2"/>
                </a:solidFill>
                <a:latin typeface="72 Brand" panose="020B0504030603020204" pitchFamily="34" charset="0"/>
                <a:cs typeface="72" panose="020B0503030000000003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73FC353-A6C9-E203-13CA-BCC09EABD6F9}"/>
              </a:ext>
            </a:extLst>
          </p:cNvPr>
          <p:cNvGrpSpPr/>
          <p:nvPr/>
        </p:nvGrpSpPr>
        <p:grpSpPr>
          <a:xfrm>
            <a:off x="1095985" y="4073134"/>
            <a:ext cx="8980111" cy="615393"/>
            <a:chOff x="1096270" y="1734547"/>
            <a:chExt cx="8982450" cy="615553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8AD5390-9551-23D8-81F4-3EC17F97A86F}"/>
                </a:ext>
              </a:extLst>
            </p:cNvPr>
            <p:cNvSpPr txBox="1"/>
            <p:nvPr/>
          </p:nvSpPr>
          <p:spPr>
            <a:xfrm>
              <a:off x="1096270" y="1796102"/>
              <a:ext cx="548640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3199" b="1" kern="0" dirty="0">
                  <a:solidFill>
                    <a:srgbClr val="0070F2"/>
                  </a:solidFill>
                  <a:latin typeface="72 Brand Black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3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A42B45C-3F21-42EB-51C3-8612B41836B9}"/>
                </a:ext>
              </a:extLst>
            </p:cNvPr>
            <p:cNvSpPr txBox="1"/>
            <p:nvPr/>
          </p:nvSpPr>
          <p:spPr>
            <a:xfrm>
              <a:off x="1637874" y="1734547"/>
              <a:ext cx="844084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88449">
                <a:defRPr/>
              </a:pPr>
              <a:r>
                <a:rPr lang="en-US" sz="2399" b="1" dirty="0">
                  <a:solidFill>
                    <a:srgbClr val="000000"/>
                  </a:solidFill>
                  <a:latin typeface="72 Brand" panose="020B0504030603020204" pitchFamily="34" charset="0"/>
                </a:rPr>
                <a:t>Round Table &amp; Close Up</a:t>
              </a:r>
              <a:endParaRPr lang="en-US" sz="2399" dirty="0">
                <a:solidFill>
                  <a:srgbClr val="000000"/>
                </a:solidFill>
                <a:latin typeface="72 Brand" panose="020B0504030603020204" pitchFamily="34" charset="0"/>
              </a:endParaRPr>
            </a:p>
            <a:p>
              <a:pPr defTabSz="1088449">
                <a:defRPr/>
              </a:pPr>
              <a:r>
                <a:rPr lang="en-US" sz="1600" b="1" dirty="0">
                  <a:solidFill>
                    <a:srgbClr val="0057D2"/>
                  </a:solidFill>
                  <a:latin typeface="72 Brand" panose="020B0504030603020204" pitchFamily="34" charset="0"/>
                  <a:cs typeface="72" panose="020B0503030000000003" pitchFamily="34" charset="0"/>
                </a:rPr>
                <a:t>All</a:t>
              </a:r>
              <a:endParaRPr lang="en-US" sz="1600" dirty="0">
                <a:solidFill>
                  <a:srgbClr val="0057D2"/>
                </a:solidFill>
                <a:latin typeface="72 Brand" panose="020B0504030603020204" pitchFamily="34" charset="0"/>
                <a:cs typeface="72" panose="020B05030300000000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33813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B9455-7F82-94FB-9602-E82073141A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hlinkClick r:id="rId3" action="ppaction://hlinksldjump"/>
            <a:extLst>
              <a:ext uri="{FF2B5EF4-FFF2-40B4-BE49-F238E27FC236}">
                <a16:creationId xmlns:a16="http://schemas.microsoft.com/office/drawing/2014/main" id="{16202031-00B6-1CDE-BADC-64145ACB2C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710" y="1176074"/>
            <a:ext cx="680590" cy="680590"/>
          </a:xfrm>
          <a:prstGeom prst="rect">
            <a:avLst/>
          </a:prstGeom>
          <a:effectLst/>
        </p:spPr>
      </p:pic>
      <p:sp>
        <p:nvSpPr>
          <p:cNvPr id="31" name="Title 43">
            <a:extLst>
              <a:ext uri="{FF2B5EF4-FFF2-40B4-BE49-F238E27FC236}">
                <a16:creationId xmlns:a16="http://schemas.microsoft.com/office/drawing/2014/main" id="{7C34AC08-652B-7121-0CB0-101FC4A7B69E}"/>
              </a:ext>
            </a:extLst>
          </p:cNvPr>
          <p:cNvSpPr txBox="1">
            <a:spLocks/>
          </p:cNvSpPr>
          <p:nvPr/>
        </p:nvSpPr>
        <p:spPr bwMode="black">
          <a:xfrm>
            <a:off x="595710" y="566291"/>
            <a:ext cx="10994809" cy="492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231" rtl="0" eaLnBrk="1" latinLnBrk="0" hangingPunct="1">
              <a:spcBef>
                <a:spcPct val="0"/>
              </a:spcBef>
              <a:buNone/>
              <a:defRPr sz="1999" b="1" kern="1200" baseline="0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defTabSz="1087905">
              <a:defRPr/>
            </a:pPr>
            <a:r>
              <a:rPr lang="en-US" sz="3199" dirty="0">
                <a:solidFill>
                  <a:srgbClr val="0170F2"/>
                </a:solidFill>
                <a:latin typeface="72 Brand" panose="020B0504030603020204" pitchFamily="34" charset="0"/>
              </a:rPr>
              <a:t>PROJECT_STATUS_REPORT_SLIDE_TITL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03D90C8-485F-9A64-8734-6D6DF2307280}"/>
              </a:ext>
            </a:extLst>
          </p:cNvPr>
          <p:cNvSpPr txBox="1"/>
          <p:nvPr/>
        </p:nvSpPr>
        <p:spPr>
          <a:xfrm>
            <a:off x="595710" y="1779813"/>
            <a:ext cx="3710072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RESPONSIBLE:</a:t>
            </a:r>
          </a:p>
          <a:p>
            <a:pPr marL="285750" indent="-285750"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R0</a:t>
            </a:r>
          </a:p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CCOUNTABLE:</a:t>
            </a:r>
          </a:p>
          <a:p>
            <a:pPr marL="285750" indent="-285750"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0</a:t>
            </a:r>
          </a:p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ONSULTED:</a:t>
            </a:r>
          </a:p>
          <a:p>
            <a:pPr marL="285750" indent="-285750"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0</a:t>
            </a:r>
          </a:p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FORMED:</a:t>
            </a:r>
          </a:p>
          <a:p>
            <a:pPr marL="285750" indent="-285750"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0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D68DD476-4448-9AD2-9FF9-B746D2F72A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30118"/>
              </p:ext>
            </p:extLst>
          </p:nvPr>
        </p:nvGraphicFramePr>
        <p:xfrm>
          <a:off x="4688835" y="1176074"/>
          <a:ext cx="6901688" cy="11125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862711">
                  <a:extLst>
                    <a:ext uri="{9D8B030D-6E8A-4147-A177-3AD203B41FA5}">
                      <a16:colId xmlns:a16="http://schemas.microsoft.com/office/drawing/2014/main" val="150598605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3981181922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1483104409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3240860166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1223050896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786491559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2773712625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34694124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ask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ype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riority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tatu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tart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nd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ssignee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mment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827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NAM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TYP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PRIORITY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STATU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START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END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ASSIGNEES_COUNT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COMMENT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322351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PRIOR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STAT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ST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E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ASSIGNEES_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COMMEN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6257652"/>
                  </a:ext>
                </a:extLst>
              </a:tr>
            </a:tbl>
          </a:graphicData>
        </a:graphic>
      </p:graphicFrame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5F832451-481F-C235-2E59-D16184AAE65D}"/>
              </a:ext>
            </a:extLst>
          </p:cNvPr>
          <p:cNvSpPr/>
          <p:nvPr/>
        </p:nvSpPr>
        <p:spPr bwMode="gray">
          <a:xfrm>
            <a:off x="405114" y="1176074"/>
            <a:ext cx="4132162" cy="3067928"/>
          </a:xfrm>
          <a:prstGeom prst="roundRect">
            <a:avLst>
              <a:gd name="adj" fmla="val 8216"/>
            </a:avLst>
          </a:prstGeom>
          <a:noFill/>
          <a:ln w="6350" algn="ctr">
            <a:solidFill>
              <a:srgbClr val="89D2FF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CA9DBE8-D4EB-7414-9E2E-48D041AC4C58}"/>
              </a:ext>
            </a:extLst>
          </p:cNvPr>
          <p:cNvSpPr/>
          <p:nvPr/>
        </p:nvSpPr>
        <p:spPr bwMode="gray">
          <a:xfrm>
            <a:off x="4988689" y="5787342"/>
            <a:ext cx="613458" cy="648182"/>
          </a:xfrm>
          <a:prstGeom prst="ellipse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600" kern="0" dirty="0">
                <a:ea typeface="Arial Unicode MS" pitchFamily="34" charset="-128"/>
                <a:cs typeface="Arial Unicode MS" pitchFamily="34" charset="-128"/>
              </a:rPr>
              <a:t>LINK_1</a:t>
            </a:r>
            <a:endParaRPr kumimoji="0" lang="en-US" sz="6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046038B-6839-E06B-C296-6C5BBC8B76C7}"/>
              </a:ext>
            </a:extLst>
          </p:cNvPr>
          <p:cNvSpPr/>
          <p:nvPr/>
        </p:nvSpPr>
        <p:spPr bwMode="gray">
          <a:xfrm>
            <a:off x="5893443" y="5787342"/>
            <a:ext cx="613458" cy="648182"/>
          </a:xfrm>
          <a:prstGeom prst="ellipse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600" kern="0" dirty="0">
                <a:ea typeface="Arial Unicode MS" pitchFamily="34" charset="-128"/>
                <a:cs typeface="Arial Unicode MS" pitchFamily="34" charset="-128"/>
              </a:rPr>
              <a:t>LINK_2</a:t>
            </a:r>
            <a:endParaRPr kumimoji="0" lang="en-US" sz="6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369635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84ECC6-4BB9-EA7D-02B4-C70222F0F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43">
            <a:extLst>
              <a:ext uri="{FF2B5EF4-FFF2-40B4-BE49-F238E27FC236}">
                <a16:creationId xmlns:a16="http://schemas.microsoft.com/office/drawing/2014/main" id="{A2D13320-5CCD-8D45-945B-AB9671F37B96}"/>
              </a:ext>
            </a:extLst>
          </p:cNvPr>
          <p:cNvSpPr txBox="1">
            <a:spLocks/>
          </p:cNvSpPr>
          <p:nvPr/>
        </p:nvSpPr>
        <p:spPr bwMode="black">
          <a:xfrm>
            <a:off x="595710" y="566291"/>
            <a:ext cx="10994809" cy="492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231" rtl="0" eaLnBrk="1" latinLnBrk="0" hangingPunct="1">
              <a:spcBef>
                <a:spcPct val="0"/>
              </a:spcBef>
              <a:buNone/>
              <a:defRPr sz="1999" b="1" kern="1200" baseline="0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defTabSz="1087905">
              <a:defRPr/>
            </a:pPr>
            <a:r>
              <a:rPr lang="en-US" sz="3199" dirty="0">
                <a:solidFill>
                  <a:srgbClr val="0170F2"/>
                </a:solidFill>
                <a:latin typeface="72 Brand" panose="020B0504030603020204" pitchFamily="34" charset="0"/>
              </a:rPr>
              <a:t>PROJECT_DECISIONS_SLIDE_TITLE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429B80ED-A738-13D9-6647-15D7315CAC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273076"/>
              </p:ext>
            </p:extLst>
          </p:nvPr>
        </p:nvGraphicFramePr>
        <p:xfrm>
          <a:off x="1099595" y="1552151"/>
          <a:ext cx="9491240" cy="11125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898248">
                  <a:extLst>
                    <a:ext uri="{9D8B030D-6E8A-4147-A177-3AD203B41FA5}">
                      <a16:colId xmlns:a16="http://schemas.microsoft.com/office/drawing/2014/main" val="150598605"/>
                    </a:ext>
                  </a:extLst>
                </a:gridCol>
                <a:gridCol w="1898248">
                  <a:extLst>
                    <a:ext uri="{9D8B030D-6E8A-4147-A177-3AD203B41FA5}">
                      <a16:colId xmlns:a16="http://schemas.microsoft.com/office/drawing/2014/main" val="3981181922"/>
                    </a:ext>
                  </a:extLst>
                </a:gridCol>
                <a:gridCol w="1898248">
                  <a:extLst>
                    <a:ext uri="{9D8B030D-6E8A-4147-A177-3AD203B41FA5}">
                      <a16:colId xmlns:a16="http://schemas.microsoft.com/office/drawing/2014/main" val="1483104409"/>
                    </a:ext>
                  </a:extLst>
                </a:gridCol>
                <a:gridCol w="1898248">
                  <a:extLst>
                    <a:ext uri="{9D8B030D-6E8A-4147-A177-3AD203B41FA5}">
                      <a16:colId xmlns:a16="http://schemas.microsoft.com/office/drawing/2014/main" val="3240860166"/>
                    </a:ext>
                  </a:extLst>
                </a:gridCol>
                <a:gridCol w="1898248">
                  <a:extLst>
                    <a:ext uri="{9D8B030D-6E8A-4147-A177-3AD203B41FA5}">
                      <a16:colId xmlns:a16="http://schemas.microsoft.com/office/drawing/2014/main" val="122305089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cision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Opportunitie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Risk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Impact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dvice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827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322351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62576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9043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GTM Strategy Template 2024">
  <a:themeElements>
    <a:clrScheme name="SAP_Brand_2023">
      <a:dk1>
        <a:srgbClr val="000000"/>
      </a:dk1>
      <a:lt1>
        <a:srgbClr val="FFFFFF"/>
      </a:lt1>
      <a:dk2>
        <a:srgbClr val="1990FE"/>
      </a:dk2>
      <a:lt2>
        <a:srgbClr val="88D0FF"/>
      </a:lt2>
      <a:accent1>
        <a:srgbClr val="F58A00"/>
      </a:accent1>
      <a:accent2>
        <a:srgbClr val="05ABA5"/>
      </a:accent2>
      <a:accent3>
        <a:srgbClr val="34A41C"/>
      </a:accent3>
      <a:accent4>
        <a:srgbClr val="F84F96"/>
      </a:accent4>
      <a:accent5>
        <a:srgbClr val="F21BEC"/>
      </a:accent5>
      <a:accent6>
        <a:srgbClr val="7758FF"/>
      </a:accent6>
      <a:hlink>
        <a:srgbClr val="006FF3"/>
      </a:hlink>
      <a:folHlink>
        <a:srgbClr val="002986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3" id="{17128D69-75EE-924D-96BD-4471FFC5A2F7}" vid="{56F4C624-0992-8248-B886-6097BEC105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10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11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2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3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4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5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6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7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8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9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4</TotalTime>
  <Words>125</Words>
  <Application>Microsoft Macintosh PowerPoint</Application>
  <PresentationFormat>Widescreen</PresentationFormat>
  <Paragraphs>55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 Unicode MS</vt:lpstr>
      <vt:lpstr>72</vt:lpstr>
      <vt:lpstr>72 Brand</vt:lpstr>
      <vt:lpstr>72 Brand Black</vt:lpstr>
      <vt:lpstr>72 Brand Medium</vt:lpstr>
      <vt:lpstr>Aptos</vt:lpstr>
      <vt:lpstr>Arial</vt:lpstr>
      <vt:lpstr>GTM Strategy Template 2024</vt:lpstr>
      <vt:lpstr>think-cell Slide</vt:lpstr>
      <vt:lpstr>PROJECT_TITL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einman, Lynn</dc:creator>
  <cp:lastModifiedBy>Scheinman, Lynn</cp:lastModifiedBy>
  <cp:revision>3</cp:revision>
  <dcterms:created xsi:type="dcterms:W3CDTF">2025-09-24T13:53:45Z</dcterms:created>
  <dcterms:modified xsi:type="dcterms:W3CDTF">2025-09-24T15:47:46Z</dcterms:modified>
</cp:coreProperties>
</file>